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7" r:id="rId2"/>
    <p:sldMasterId id="2147483684" r:id="rId3"/>
    <p:sldMasterId id="2147483702" r:id="rId4"/>
  </p:sldMasterIdLst>
  <p:notesMasterIdLst>
    <p:notesMasterId r:id="rId21"/>
  </p:notesMasterIdLst>
  <p:sldIdLst>
    <p:sldId id="2076136243" r:id="rId5"/>
    <p:sldId id="1001" r:id="rId6"/>
    <p:sldId id="2076136244" r:id="rId7"/>
    <p:sldId id="4543" r:id="rId8"/>
    <p:sldId id="2076137838" r:id="rId9"/>
    <p:sldId id="4570" r:id="rId10"/>
    <p:sldId id="4651" r:id="rId11"/>
    <p:sldId id="2076136246" r:id="rId12"/>
    <p:sldId id="2076136251" r:id="rId13"/>
    <p:sldId id="2076136247" r:id="rId14"/>
    <p:sldId id="2076136248" r:id="rId15"/>
    <p:sldId id="2076136249" r:id="rId16"/>
    <p:sldId id="2076136250" r:id="rId17"/>
    <p:sldId id="2076137839" r:id="rId18"/>
    <p:sldId id="633" r:id="rId19"/>
    <p:sldId id="621" r:id="rId20"/>
  </p:sldIdLst>
  <p:sldSz cx="12192000" cy="6858000"/>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1"/>
    <p:restoredTop sz="95865"/>
  </p:normalViewPr>
  <p:slideViewPr>
    <p:cSldViewPr snapToGrid="0" snapToObjects="1">
      <p:cViewPr varScale="1">
        <p:scale>
          <a:sx n="114" d="100"/>
          <a:sy n="114" d="100"/>
        </p:scale>
        <p:origin x="306"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958FEE6-3E25-E74D-8105-A917FEA6BEB8}" type="datetimeFigureOut">
              <a:rPr lang="es-ES" smtClean="0"/>
              <a:t>23/05/2023</a:t>
            </a:fld>
            <a:endParaRPr lang="es-E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CB25B77-367A-CC40-980D-C6CC49328806}" type="slidenum">
              <a:rPr lang="es-ES" smtClean="0"/>
              <a:t>‹#›</a:t>
            </a:fld>
            <a:endParaRPr lang="es-ES"/>
          </a:p>
        </p:txBody>
      </p:sp>
    </p:spTree>
    <p:extLst>
      <p:ext uri="{BB962C8B-B14F-4D97-AF65-F5344CB8AC3E}">
        <p14:creationId xmlns:p14="http://schemas.microsoft.com/office/powerpoint/2010/main" val="10381099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570882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05604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dirty="0"/>
          </a:p>
        </p:txBody>
      </p:sp>
      <p:sp>
        <p:nvSpPr>
          <p:cNvPr id="4" name="Marcador de número de diapositiva 3"/>
          <p:cNvSpPr>
            <a:spLocks noGrp="1"/>
          </p:cNvSpPr>
          <p:nvPr>
            <p:ph type="sldNum" sz="quarter" idx="5"/>
          </p:nvPr>
        </p:nvSpPr>
        <p:spPr/>
        <p:txBody>
          <a:bodyPr/>
          <a:lstStyle/>
          <a:p>
            <a:fld id="{C0696B5C-12A0-4042-B4D0-BD3B9A4F58C6}" type="slidenum">
              <a:rPr lang="pt-BR" smtClean="0"/>
              <a:t>3</a:t>
            </a:fld>
            <a:endParaRPr lang="pt-BR"/>
          </a:p>
        </p:txBody>
      </p:sp>
    </p:spTree>
    <p:extLst>
      <p:ext uri="{BB962C8B-B14F-4D97-AF65-F5344CB8AC3E}">
        <p14:creationId xmlns:p14="http://schemas.microsoft.com/office/powerpoint/2010/main" val="18691379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329137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731725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b="1">
                <a:solidFill>
                  <a:srgbClr val="2D0439"/>
                </a:solidFill>
                <a:latin typeface="Ubuntu" panose="020B0504030602030204" pitchFamily="34" charset="0"/>
              </a:rPr>
              <a:t>“¿Hay casos de prueba y defectos potencialmente duplicados?”</a:t>
            </a:r>
          </a:p>
          <a:p>
            <a:pPr marL="0" marR="0" lvl="0" indent="0" algn="l" defTabSz="914400" rtl="0" eaLnBrk="1" fontAlgn="auto" latinLnBrk="0" hangingPunct="1">
              <a:lnSpc>
                <a:spcPct val="100000"/>
              </a:lnSpc>
              <a:spcBef>
                <a:spcPts val="0"/>
              </a:spcBef>
              <a:spcAft>
                <a:spcPts val="0"/>
              </a:spcAft>
              <a:buClrTx/>
              <a:buSzTx/>
              <a:buFontTx/>
              <a:buNone/>
              <a:tabLst/>
              <a:defRPr/>
            </a:pPr>
            <a:r>
              <a:rPr lang="es-ES" b="1">
                <a:solidFill>
                  <a:srgbClr val="2D0439"/>
                </a:solidFill>
                <a:latin typeface="Ubuntu" panose="020B0504030602030204" pitchFamily="34" charset="0"/>
              </a:rPr>
              <a:t>“¿Hay casos de prueba y defectos potencialmente duplicados?”</a:t>
            </a:r>
          </a:p>
          <a:p>
            <a:endParaRPr lang="es-ES"/>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47101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835157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262636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svg"/><Relationship Id="rId13" Type="http://schemas.openxmlformats.org/officeDocument/2006/relationships/image" Target="../media/image11.svg"/><Relationship Id="rId3" Type="http://schemas.openxmlformats.org/officeDocument/2006/relationships/image" Target="../media/image2.png"/><Relationship Id="rId7" Type="http://schemas.openxmlformats.org/officeDocument/2006/relationships/image" Target="../media/image6.png"/><Relationship Id="rId12"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svg"/><Relationship Id="rId11" Type="http://schemas.openxmlformats.org/officeDocument/2006/relationships/slide" Target="../slides/slide10.xml"/><Relationship Id="rId5" Type="http://schemas.openxmlformats.org/officeDocument/2006/relationships/image" Target="../media/image4.png"/><Relationship Id="rId15" Type="http://schemas.openxmlformats.org/officeDocument/2006/relationships/image" Target="../media/image13.svg"/><Relationship Id="rId10" Type="http://schemas.openxmlformats.org/officeDocument/2006/relationships/image" Target="../media/image9.svg"/><Relationship Id="rId4" Type="http://schemas.openxmlformats.org/officeDocument/2006/relationships/image" Target="../media/image3.svg"/><Relationship Id="rId9" Type="http://schemas.openxmlformats.org/officeDocument/2006/relationships/image" Target="../media/image8.png"/><Relationship Id="rId14" Type="http://schemas.openxmlformats.org/officeDocument/2006/relationships/image" Target="../media/image12.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7.svg"/><Relationship Id="rId13" Type="http://schemas.openxmlformats.org/officeDocument/2006/relationships/image" Target="../media/image11.svg"/><Relationship Id="rId3" Type="http://schemas.openxmlformats.org/officeDocument/2006/relationships/image" Target="../media/image2.png"/><Relationship Id="rId7" Type="http://schemas.openxmlformats.org/officeDocument/2006/relationships/image" Target="../media/image6.png"/><Relationship Id="rId12" Type="http://schemas.openxmlformats.org/officeDocument/2006/relationships/image" Target="../media/image10.png"/><Relationship Id="rId2" Type="http://schemas.openxmlformats.org/officeDocument/2006/relationships/image" Target="../media/image16.emf"/><Relationship Id="rId1" Type="http://schemas.openxmlformats.org/officeDocument/2006/relationships/slideMaster" Target="../slideMasters/slideMaster1.xml"/><Relationship Id="rId6" Type="http://schemas.openxmlformats.org/officeDocument/2006/relationships/image" Target="../media/image5.svg"/><Relationship Id="rId11" Type="http://schemas.openxmlformats.org/officeDocument/2006/relationships/slide" Target="../slides/slide10.xml"/><Relationship Id="rId5" Type="http://schemas.openxmlformats.org/officeDocument/2006/relationships/image" Target="../media/image4.png"/><Relationship Id="rId15" Type="http://schemas.openxmlformats.org/officeDocument/2006/relationships/image" Target="../media/image13.svg"/><Relationship Id="rId10" Type="http://schemas.openxmlformats.org/officeDocument/2006/relationships/image" Target="../media/image9.svg"/><Relationship Id="rId4" Type="http://schemas.openxmlformats.org/officeDocument/2006/relationships/image" Target="../media/image3.svg"/><Relationship Id="rId9" Type="http://schemas.openxmlformats.org/officeDocument/2006/relationships/image" Target="../media/image8.png"/><Relationship Id="rId14" Type="http://schemas.openxmlformats.org/officeDocument/2006/relationships/image" Target="../media/image12.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s://www.youtube.com/channel/UC9vbc9OpkYZ9hru94oFzTQQ?" TargetMode="External"/><Relationship Id="rId3" Type="http://schemas.openxmlformats.org/officeDocument/2006/relationships/image" Target="../media/image16.emf"/><Relationship Id="rId7" Type="http://schemas.openxmlformats.org/officeDocument/2006/relationships/image" Target="../media/image20.png"/><Relationship Id="rId2" Type="http://schemas.openxmlformats.org/officeDocument/2006/relationships/hyperlink" Target="https://www.sogeti.com/" TargetMode="External"/><Relationship Id="rId1" Type="http://schemas.openxmlformats.org/officeDocument/2006/relationships/slideMaster" Target="../slideMasters/slideMaster1.xml"/><Relationship Id="rId6" Type="http://schemas.openxmlformats.org/officeDocument/2006/relationships/hyperlink" Target="https://twitter.com/sogeti" TargetMode="External"/><Relationship Id="rId5" Type="http://schemas.openxmlformats.org/officeDocument/2006/relationships/image" Target="../media/image19.png"/><Relationship Id="rId4" Type="http://schemas.openxmlformats.org/officeDocument/2006/relationships/hyperlink" Target="https://www.linkedin.com/company/sogeti/" TargetMode="External"/><Relationship Id="rId9" Type="http://schemas.openxmlformats.org/officeDocument/2006/relationships/image" Target="../media/image21.png"/></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2.png"/><Relationship Id="rId3" Type="http://schemas.openxmlformats.org/officeDocument/2006/relationships/image" Target="../media/image3.svg"/><Relationship Id="rId7" Type="http://schemas.openxmlformats.org/officeDocument/2006/relationships/image" Target="../media/image7.svg"/><Relationship Id="rId12" Type="http://schemas.openxmlformats.org/officeDocument/2006/relationships/image" Target="../media/image11.sv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11" Type="http://schemas.openxmlformats.org/officeDocument/2006/relationships/image" Target="../media/image10.png"/><Relationship Id="rId5" Type="http://schemas.openxmlformats.org/officeDocument/2006/relationships/image" Target="../media/image5.svg"/><Relationship Id="rId10" Type="http://schemas.openxmlformats.org/officeDocument/2006/relationships/slide" Target="../slides/slide10.xml"/><Relationship Id="rId4" Type="http://schemas.openxmlformats.org/officeDocument/2006/relationships/image" Target="../media/image4.png"/><Relationship Id="rId9" Type="http://schemas.openxmlformats.org/officeDocument/2006/relationships/image" Target="../media/image9.svg"/><Relationship Id="rId14" Type="http://schemas.openxmlformats.org/officeDocument/2006/relationships/image" Target="../media/image13.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24.png"/><Relationship Id="rId5" Type="http://schemas.openxmlformats.org/officeDocument/2006/relationships/image" Target="../media/image23.png"/><Relationship Id="rId4" Type="http://schemas.microsoft.com/office/2007/relationships/hdphoto" Target="../media/hdphoto1.wdp"/></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3.xml"/><Relationship Id="rId4" Type="http://schemas.openxmlformats.org/officeDocument/2006/relationships/image" Target="../media/image17.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3.xml"/><Relationship Id="rId1" Type="http://schemas.openxmlformats.org/officeDocument/2006/relationships/tags" Target="../tags/tag4.xml"/><Relationship Id="rId5" Type="http://schemas.openxmlformats.org/officeDocument/2006/relationships/image" Target="../media/image17.emf"/><Relationship Id="rId4" Type="http://schemas.openxmlformats.org/officeDocument/2006/relationships/oleObject" Target="../embeddings/oleObject3.bin"/></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17.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7.svg"/><Relationship Id="rId13" Type="http://schemas.openxmlformats.org/officeDocument/2006/relationships/image" Target="../media/image11.svg"/><Relationship Id="rId3" Type="http://schemas.openxmlformats.org/officeDocument/2006/relationships/image" Target="../media/image2.png"/><Relationship Id="rId7" Type="http://schemas.openxmlformats.org/officeDocument/2006/relationships/image" Target="../media/image6.png"/><Relationship Id="rId12"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image" Target="../media/image5.svg"/><Relationship Id="rId11" Type="http://schemas.openxmlformats.org/officeDocument/2006/relationships/slide" Target="../slides/slide10.xml"/><Relationship Id="rId5" Type="http://schemas.openxmlformats.org/officeDocument/2006/relationships/image" Target="../media/image4.png"/><Relationship Id="rId15" Type="http://schemas.openxmlformats.org/officeDocument/2006/relationships/image" Target="../media/image13.svg"/><Relationship Id="rId10" Type="http://schemas.openxmlformats.org/officeDocument/2006/relationships/image" Target="../media/image9.svg"/><Relationship Id="rId4" Type="http://schemas.openxmlformats.org/officeDocument/2006/relationships/image" Target="../media/image3.svg"/><Relationship Id="rId9" Type="http://schemas.openxmlformats.org/officeDocument/2006/relationships/image" Target="../media/image8.png"/><Relationship Id="rId14" Type="http://schemas.openxmlformats.org/officeDocument/2006/relationships/image" Target="../media/image12.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3.xml"/><Relationship Id="rId1" Type="http://schemas.openxmlformats.org/officeDocument/2006/relationships/tags" Target="../tags/tag6.xml"/><Relationship Id="rId5" Type="http://schemas.openxmlformats.org/officeDocument/2006/relationships/image" Target="../media/image17.emf"/><Relationship Id="rId4" Type="http://schemas.openxmlformats.org/officeDocument/2006/relationships/oleObject" Target="../embeddings/oleObject4.bin"/></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3.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3.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17.emf"/></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hyperlink" Target="https://www.linkedin.com/company/sogeti/" TargetMode="External"/><Relationship Id="rId7" Type="http://schemas.openxmlformats.org/officeDocument/2006/relationships/hyperlink" Target="https://www.youtube.com/channel/UC9vbc9OpkYZ9hru94oFzTQQ?" TargetMode="External"/><Relationship Id="rId2" Type="http://schemas.openxmlformats.org/officeDocument/2006/relationships/image" Target="../media/image16.emf"/><Relationship Id="rId1" Type="http://schemas.openxmlformats.org/officeDocument/2006/relationships/slideMaster" Target="../slideMasters/slideMaster3.xml"/><Relationship Id="rId6" Type="http://schemas.openxmlformats.org/officeDocument/2006/relationships/image" Target="../media/image20.png"/><Relationship Id="rId5" Type="http://schemas.openxmlformats.org/officeDocument/2006/relationships/hyperlink" Target="https://twitter.com/sogeti" TargetMode="External"/><Relationship Id="rId4" Type="http://schemas.openxmlformats.org/officeDocument/2006/relationships/image" Target="../media/image19.png"/><Relationship Id="rId9" Type="http://schemas.openxmlformats.org/officeDocument/2006/relationships/hyperlink" Target="http://www.sogeti.com/" TargetMode="Externa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7.svg"/><Relationship Id="rId13" Type="http://schemas.openxmlformats.org/officeDocument/2006/relationships/image" Target="../media/image12.png"/><Relationship Id="rId3" Type="http://schemas.openxmlformats.org/officeDocument/2006/relationships/image" Target="../media/image2.png"/><Relationship Id="rId7" Type="http://schemas.openxmlformats.org/officeDocument/2006/relationships/image" Target="../media/image6.png"/><Relationship Id="rId12" Type="http://schemas.openxmlformats.org/officeDocument/2006/relationships/image" Target="../media/image11.svg"/><Relationship Id="rId2" Type="http://schemas.openxmlformats.org/officeDocument/2006/relationships/slide" Target="../slides/slide10.xml"/><Relationship Id="rId1" Type="http://schemas.openxmlformats.org/officeDocument/2006/relationships/slideMaster" Target="../slideMasters/slideMaster4.xml"/><Relationship Id="rId6" Type="http://schemas.openxmlformats.org/officeDocument/2006/relationships/image" Target="../media/image5.svg"/><Relationship Id="rId11" Type="http://schemas.openxmlformats.org/officeDocument/2006/relationships/image" Target="../media/image10.png"/><Relationship Id="rId5" Type="http://schemas.openxmlformats.org/officeDocument/2006/relationships/image" Target="../media/image4.png"/><Relationship Id="rId10" Type="http://schemas.openxmlformats.org/officeDocument/2006/relationships/image" Target="../media/image9.svg"/><Relationship Id="rId4" Type="http://schemas.openxmlformats.org/officeDocument/2006/relationships/image" Target="../media/image3.svg"/><Relationship Id="rId9" Type="http://schemas.openxmlformats.org/officeDocument/2006/relationships/image" Target="../media/image8.png"/><Relationship Id="rId14" Type="http://schemas.openxmlformats.org/officeDocument/2006/relationships/image" Target="../media/image13.svg"/></Relationships>
</file>

<file path=ppt/slideLayouts/_rels/slideLayout4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png"/><Relationship Id="rId1" Type="http://schemas.openxmlformats.org/officeDocument/2006/relationships/slideMaster" Target="../slideMasters/slideMaster4.xml"/><Relationship Id="rId5" Type="http://schemas.openxmlformats.org/officeDocument/2006/relationships/image" Target="../media/image33.png"/><Relationship Id="rId4" Type="http://schemas.openxmlformats.org/officeDocument/2006/relationships/image" Target="../media/image16.emf"/></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8" Type="http://schemas.openxmlformats.org/officeDocument/2006/relationships/hyperlink" Target="https://www.youtube.com/channel/UC9vbc9OpkYZ9hru94oFzTQQ?" TargetMode="External"/><Relationship Id="rId3" Type="http://schemas.openxmlformats.org/officeDocument/2006/relationships/image" Target="../media/image16.emf"/><Relationship Id="rId7" Type="http://schemas.openxmlformats.org/officeDocument/2006/relationships/image" Target="../media/image20.png"/><Relationship Id="rId2" Type="http://schemas.openxmlformats.org/officeDocument/2006/relationships/hyperlink" Target="https://www.sogeti.com/" TargetMode="External"/><Relationship Id="rId1" Type="http://schemas.openxmlformats.org/officeDocument/2006/relationships/slideMaster" Target="../slideMasters/slideMaster4.xml"/><Relationship Id="rId6" Type="http://schemas.openxmlformats.org/officeDocument/2006/relationships/hyperlink" Target="https://twitter.com/sogeti" TargetMode="External"/><Relationship Id="rId5" Type="http://schemas.openxmlformats.org/officeDocument/2006/relationships/image" Target="../media/image19.png"/><Relationship Id="rId4" Type="http://schemas.openxmlformats.org/officeDocument/2006/relationships/hyperlink" Target="https://www.linkedin.com/company/sogeti/" TargetMode="External"/><Relationship Id="rId9" Type="http://schemas.openxmlformats.org/officeDocument/2006/relationships/image" Target="../media/image21.png"/></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8.xml"/><Relationship Id="rId4" Type="http://schemas.openxmlformats.org/officeDocument/2006/relationships/image" Target="../media/image17.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9.xml"/><Relationship Id="rId4" Type="http://schemas.openxmlformats.org/officeDocument/2006/relationships/image" Target="../media/image17.emf"/></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7.svg"/><Relationship Id="rId13" Type="http://schemas.openxmlformats.org/officeDocument/2006/relationships/image" Target="../media/image11.svg"/><Relationship Id="rId3" Type="http://schemas.openxmlformats.org/officeDocument/2006/relationships/image" Target="../media/image2.png"/><Relationship Id="rId7" Type="http://schemas.openxmlformats.org/officeDocument/2006/relationships/image" Target="../media/image6.png"/><Relationship Id="rId12" Type="http://schemas.openxmlformats.org/officeDocument/2006/relationships/image" Target="../media/image10.png"/><Relationship Id="rId2" Type="http://schemas.openxmlformats.org/officeDocument/2006/relationships/image" Target="../media/image16.emf"/><Relationship Id="rId1" Type="http://schemas.openxmlformats.org/officeDocument/2006/relationships/slideMaster" Target="../slideMasters/slideMaster1.xml"/><Relationship Id="rId6" Type="http://schemas.openxmlformats.org/officeDocument/2006/relationships/image" Target="../media/image5.svg"/><Relationship Id="rId11" Type="http://schemas.openxmlformats.org/officeDocument/2006/relationships/slide" Target="../slides/slide10.xml"/><Relationship Id="rId5" Type="http://schemas.openxmlformats.org/officeDocument/2006/relationships/image" Target="../media/image4.png"/><Relationship Id="rId15" Type="http://schemas.openxmlformats.org/officeDocument/2006/relationships/image" Target="../media/image13.svg"/><Relationship Id="rId10" Type="http://schemas.openxmlformats.org/officeDocument/2006/relationships/image" Target="../media/image9.svg"/><Relationship Id="rId4" Type="http://schemas.openxmlformats.org/officeDocument/2006/relationships/image" Target="../media/image3.svg"/><Relationship Id="rId9" Type="http://schemas.openxmlformats.org/officeDocument/2006/relationships/image" Target="../media/image8.png"/><Relationship Id="rId14" Type="http://schemas.openxmlformats.org/officeDocument/2006/relationships/image" Target="../media/image12.png"/></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7.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498012" cy="863600"/>
          </a:xfrm>
          <a:prstGeom prst="rect">
            <a:avLst/>
          </a:prstGeom>
        </p:spPr>
        <p:txBody>
          <a:bodyPr vert="horz" lIns="0" tIns="0" rIns="0" bIns="0" rtlCol="0" anchor="t">
            <a:normAutofit/>
          </a:bodyPr>
          <a:lstStyle>
            <a:lvl1pPr>
              <a:defRPr lang="pt-PT" b="1" i="0" dirty="0">
                <a:latin typeface="Ubuntu" panose="020B0504030602030204" pitchFamily="34" charset="0"/>
              </a:defRPr>
            </a:lvl1pPr>
          </a:lstStyle>
          <a:p>
            <a:pPr lvl="0">
              <a:lnSpc>
                <a:spcPts val="3000"/>
              </a:lnSpc>
            </a:pPr>
            <a:r>
              <a:rPr lang="en-US"/>
              <a:t>Click to add title</a:t>
            </a:r>
            <a:endParaRPr lang="pt-PT"/>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79814" y="6555758"/>
            <a:ext cx="2591986" cy="219456"/>
          </a:xfrm>
          <a:prstGeom prst="rect">
            <a:avLst/>
          </a:prstGeom>
        </p:spPr>
        <p:txBody>
          <a:bodyPr wrap="none" lIns="0" tIns="0" rIns="0" bIns="0" anchor="ctr">
            <a:noAutofit/>
          </a:bodyPr>
          <a:lstStyle/>
          <a:p>
            <a:pPr>
              <a:lnSpc>
                <a:spcPct val="100000"/>
              </a:lnSpc>
            </a:pPr>
            <a:r>
              <a:rPr lang="en-US" sz="800">
                <a:solidFill>
                  <a:schemeClr val="bg2">
                    <a:lumMod val="50000"/>
                  </a:schemeClr>
                </a:solidFill>
                <a:cs typeface="Arial" panose="020B0604020202020204" pitchFamily="34" charset="0"/>
              </a:rPr>
              <a:t>© 2020 Sogeti. All rights reserved.</a:t>
            </a:r>
          </a:p>
        </p:txBody>
      </p:sp>
      <p:pic>
        <p:nvPicPr>
          <p:cNvPr id="5" name="Imagen 4">
            <a:extLst>
              <a:ext uri="{FF2B5EF4-FFF2-40B4-BE49-F238E27FC236}">
                <a16:creationId xmlns:a16="http://schemas.microsoft.com/office/drawing/2014/main" id="{0C29C71A-B665-46B6-9792-7D3B8F6B4BD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640291" y="304800"/>
            <a:ext cx="1190162" cy="616905"/>
          </a:xfrm>
          <a:prstGeom prst="rect">
            <a:avLst/>
          </a:prstGeom>
        </p:spPr>
      </p:pic>
      <p:pic>
        <p:nvPicPr>
          <p:cNvPr id="7" name="Gráfico 6" descr="Inicio">
            <a:hlinkClick r:id="" action="ppaction://noaction"/>
            <a:extLst>
              <a:ext uri="{FF2B5EF4-FFF2-40B4-BE49-F238E27FC236}">
                <a16:creationId xmlns:a16="http://schemas.microsoft.com/office/drawing/2014/main" id="{86A47990-4F87-43ED-B4DC-90926D5B28F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80316" y="6527273"/>
            <a:ext cx="248169" cy="231805"/>
          </a:xfrm>
          <a:prstGeom prst="rect">
            <a:avLst/>
          </a:prstGeom>
        </p:spPr>
      </p:pic>
      <p:pic>
        <p:nvPicPr>
          <p:cNvPr id="8" name="Gráfico 7" descr="Marca de verificación">
            <a:hlinkClick r:id="" action="ppaction://noaction"/>
            <a:extLst>
              <a:ext uri="{FF2B5EF4-FFF2-40B4-BE49-F238E27FC236}">
                <a16:creationId xmlns:a16="http://schemas.microsoft.com/office/drawing/2014/main" id="{F09C4264-8D72-476C-8482-8237E177A63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190673" y="6518477"/>
            <a:ext cx="209737" cy="240601"/>
          </a:xfrm>
          <a:prstGeom prst="rect">
            <a:avLst/>
          </a:prstGeom>
        </p:spPr>
      </p:pic>
      <p:pic>
        <p:nvPicPr>
          <p:cNvPr id="10" name="Gráfico 9" descr="Bombilla y equipo">
            <a:hlinkClick r:id="" action="ppaction://noaction"/>
            <a:extLst>
              <a:ext uri="{FF2B5EF4-FFF2-40B4-BE49-F238E27FC236}">
                <a16:creationId xmlns:a16="http://schemas.microsoft.com/office/drawing/2014/main" id="{A2F8AA67-C828-416B-B005-B0B99C86AE38}"/>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944737" y="6547689"/>
            <a:ext cx="209737" cy="195908"/>
          </a:xfrm>
          <a:prstGeom prst="rect">
            <a:avLst/>
          </a:prstGeom>
        </p:spPr>
      </p:pic>
      <p:pic>
        <p:nvPicPr>
          <p:cNvPr id="11" name="Gráfico 10" descr="Repetir">
            <a:hlinkClick r:id="" action="ppaction://noaction"/>
            <a:extLst>
              <a:ext uri="{FF2B5EF4-FFF2-40B4-BE49-F238E27FC236}">
                <a16:creationId xmlns:a16="http://schemas.microsoft.com/office/drawing/2014/main" id="{44FDB50D-8174-41C0-A5DD-1A8B0BF33223}"/>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0673612" y="6530871"/>
            <a:ext cx="220767" cy="231805"/>
          </a:xfrm>
          <a:prstGeom prst="rect">
            <a:avLst/>
          </a:prstGeom>
        </p:spPr>
      </p:pic>
      <p:pic>
        <p:nvPicPr>
          <p:cNvPr id="12" name="Gráfico 11" descr="Discurso">
            <a:hlinkClick r:id="rId11" action="ppaction://hlinksldjump" tooltip="Customer stories"/>
            <a:extLst>
              <a:ext uri="{FF2B5EF4-FFF2-40B4-BE49-F238E27FC236}">
                <a16:creationId xmlns:a16="http://schemas.microsoft.com/office/drawing/2014/main" id="{DF94310E-F253-4E90-8477-2F5EC0336E1C}"/>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11764597" y="6530871"/>
            <a:ext cx="246492" cy="275455"/>
          </a:xfrm>
          <a:prstGeom prst="rect">
            <a:avLst/>
          </a:prstGeom>
        </p:spPr>
      </p:pic>
      <p:pic>
        <p:nvPicPr>
          <p:cNvPr id="13" name="Gráfico 12" descr="Diseño web">
            <a:hlinkClick r:id="" action="ppaction://noaction"/>
            <a:extLst>
              <a:ext uri="{FF2B5EF4-FFF2-40B4-BE49-F238E27FC236}">
                <a16:creationId xmlns:a16="http://schemas.microsoft.com/office/drawing/2014/main" id="{A33271D7-0119-4F23-8CDF-BADA19A768C8}"/>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11458905" y="6524323"/>
            <a:ext cx="247197" cy="247197"/>
          </a:xfrm>
          <a:prstGeom prst="rect">
            <a:avLst/>
          </a:prstGeom>
        </p:spPr>
      </p:pic>
    </p:spTree>
    <p:extLst>
      <p:ext uri="{BB962C8B-B14F-4D97-AF65-F5344CB8AC3E}">
        <p14:creationId xmlns:p14="http://schemas.microsoft.com/office/powerpoint/2010/main" val="19745431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sz="2400" dirty="0">
                <a:solidFill>
                  <a:schemeClr val="tx2"/>
                </a:solidFill>
                <a:latin typeface="Ubuntu" panose="020B0504030602030204" pitchFamily="34" charset="0"/>
              </a:defRPr>
            </a:lvl1pPr>
          </a:lstStyle>
          <a:p>
            <a:pPr lvl="0">
              <a:lnSpc>
                <a:spcPts val="3000"/>
              </a:lnSpc>
            </a:pPr>
            <a:r>
              <a:rPr lang="en-US"/>
              <a:t>Click to insert title</a:t>
            </a:r>
            <a:endParaRPr lang="pt-PT"/>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sp>
        <p:nvSpPr>
          <p:cNvPr id="26" name="Retângulo 43">
            <a:extLst>
              <a:ext uri="{FF2B5EF4-FFF2-40B4-BE49-F238E27FC236}">
                <a16:creationId xmlns:a16="http://schemas.microsoft.com/office/drawing/2014/main" id="{834ADCB4-BFB1-450D-8F6D-64217F4CD92C}"/>
              </a:ext>
            </a:extLst>
          </p:cNvPr>
          <p:cNvSpPr/>
          <p:nvPr userDrawn="1"/>
        </p:nvSpPr>
        <p:spPr>
          <a:xfrm>
            <a:off x="423452" y="6555758"/>
            <a:ext cx="2591986" cy="219456"/>
          </a:xfrm>
          <a:prstGeom prst="rect">
            <a:avLst/>
          </a:prstGeom>
        </p:spPr>
        <p:txBody>
          <a:bodyPr wrap="none" lIns="0" tIns="0" rIns="0" bIns="0" anchor="ctr">
            <a:noAutofit/>
          </a:bodyPr>
          <a:lstStyle/>
          <a:p>
            <a:pPr>
              <a:lnSpc>
                <a:spcPct val="100000"/>
              </a:lnSpc>
            </a:pPr>
            <a:r>
              <a:rPr lang="en-US" sz="800">
                <a:solidFill>
                  <a:schemeClr val="bg2">
                    <a:lumMod val="50000"/>
                  </a:schemeClr>
                </a:solidFill>
                <a:cs typeface="Arial" panose="020B0604020202020204" pitchFamily="34" charset="0"/>
              </a:rPr>
              <a:t>© 2019 Sogeti. All rights reserved.</a:t>
            </a:r>
          </a:p>
        </p:txBody>
      </p:sp>
      <p:pic>
        <p:nvPicPr>
          <p:cNvPr id="17" name="Imagen 16">
            <a:extLst>
              <a:ext uri="{FF2B5EF4-FFF2-40B4-BE49-F238E27FC236}">
                <a16:creationId xmlns:a16="http://schemas.microsoft.com/office/drawing/2014/main" id="{B19D9FA0-2C4F-C34D-8626-CD98EE45060D}"/>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640291" y="304800"/>
            <a:ext cx="1190162" cy="616905"/>
          </a:xfrm>
          <a:prstGeom prst="rect">
            <a:avLst/>
          </a:prstGeom>
        </p:spPr>
      </p:pic>
    </p:spTree>
    <p:extLst>
      <p:ext uri="{BB962C8B-B14F-4D97-AF65-F5344CB8AC3E}">
        <p14:creationId xmlns:p14="http://schemas.microsoft.com/office/powerpoint/2010/main" val="33093360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over6">
    <p:spTree>
      <p:nvGrpSpPr>
        <p:cNvPr id="1" name=""/>
        <p:cNvGrpSpPr/>
        <p:nvPr/>
      </p:nvGrpSpPr>
      <p:grpSpPr>
        <a:xfrm>
          <a:off x="0" y="0"/>
          <a:ext cx="0" cy="0"/>
          <a:chOff x="0" y="0"/>
          <a:chExt cx="0" cy="0"/>
        </a:xfrm>
      </p:grpSpPr>
      <p:sp>
        <p:nvSpPr>
          <p:cNvPr id="17" name="Freeform 16"/>
          <p:cNvSpPr/>
          <p:nvPr userDrawn="1"/>
        </p:nvSpPr>
        <p:spPr>
          <a:xfrm>
            <a:off x="-22987" y="0"/>
            <a:ext cx="6223905" cy="68580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
        <p:nvSpPr>
          <p:cNvPr id="20" name="Title 1"/>
          <p:cNvSpPr>
            <a:spLocks noGrp="1"/>
          </p:cNvSpPr>
          <p:nvPr>
            <p:ph type="ctrTitle" hasCustomPrompt="1"/>
          </p:nvPr>
        </p:nvSpPr>
        <p:spPr>
          <a:xfrm>
            <a:off x="407988" y="25146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a:t>Title of Presentation</a:t>
            </a:r>
          </a:p>
        </p:txBody>
      </p:sp>
      <p:sp>
        <p:nvSpPr>
          <p:cNvPr id="21" name="Subtitle 2"/>
          <p:cNvSpPr>
            <a:spLocks noGrp="1"/>
          </p:cNvSpPr>
          <p:nvPr>
            <p:ph type="subTitle" idx="1" hasCustomPrompt="1"/>
          </p:nvPr>
        </p:nvSpPr>
        <p:spPr>
          <a:xfrm>
            <a:off x="407988" y="34290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pic>
        <p:nvPicPr>
          <p:cNvPr id="6" name="Gráfico 5" descr="Inicio">
            <a:hlinkClick r:id="" action="ppaction://noaction"/>
            <a:extLst>
              <a:ext uri="{FF2B5EF4-FFF2-40B4-BE49-F238E27FC236}">
                <a16:creationId xmlns:a16="http://schemas.microsoft.com/office/drawing/2014/main" id="{C8636E25-6F90-4AC9-8A93-B5E1A172A33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80316" y="6527273"/>
            <a:ext cx="248169" cy="231805"/>
          </a:xfrm>
          <a:prstGeom prst="rect">
            <a:avLst/>
          </a:prstGeom>
        </p:spPr>
      </p:pic>
      <p:pic>
        <p:nvPicPr>
          <p:cNvPr id="8" name="Gráfico 7" descr="Marca de verificación">
            <a:hlinkClick r:id="" action="ppaction://noaction"/>
            <a:extLst>
              <a:ext uri="{FF2B5EF4-FFF2-40B4-BE49-F238E27FC236}">
                <a16:creationId xmlns:a16="http://schemas.microsoft.com/office/drawing/2014/main" id="{AE8F1597-EB11-4CF8-BE24-0A78BE848D8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190673" y="6518477"/>
            <a:ext cx="209737" cy="240601"/>
          </a:xfrm>
          <a:prstGeom prst="rect">
            <a:avLst/>
          </a:prstGeom>
        </p:spPr>
      </p:pic>
      <p:pic>
        <p:nvPicPr>
          <p:cNvPr id="9" name="Gráfico 8" descr="Bombilla y equipo">
            <a:hlinkClick r:id="" action="ppaction://noaction"/>
            <a:extLst>
              <a:ext uri="{FF2B5EF4-FFF2-40B4-BE49-F238E27FC236}">
                <a16:creationId xmlns:a16="http://schemas.microsoft.com/office/drawing/2014/main" id="{2C6248B3-1B43-43F4-9711-E424AEBE9DB4}"/>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944737" y="6547689"/>
            <a:ext cx="209737" cy="195908"/>
          </a:xfrm>
          <a:prstGeom prst="rect">
            <a:avLst/>
          </a:prstGeom>
        </p:spPr>
      </p:pic>
      <p:pic>
        <p:nvPicPr>
          <p:cNvPr id="10" name="Gráfico 9" descr="Repetir">
            <a:hlinkClick r:id="" action="ppaction://noaction"/>
            <a:extLst>
              <a:ext uri="{FF2B5EF4-FFF2-40B4-BE49-F238E27FC236}">
                <a16:creationId xmlns:a16="http://schemas.microsoft.com/office/drawing/2014/main" id="{4E39A8FE-8667-4964-AF25-84D968FB2032}"/>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0673612" y="6530871"/>
            <a:ext cx="220767" cy="231805"/>
          </a:xfrm>
          <a:prstGeom prst="rect">
            <a:avLst/>
          </a:prstGeom>
        </p:spPr>
      </p:pic>
      <p:pic>
        <p:nvPicPr>
          <p:cNvPr id="11" name="Gráfico 10" descr="Discurso">
            <a:hlinkClick r:id="rId11" action="ppaction://hlinksldjump" tooltip="Customer stories"/>
            <a:extLst>
              <a:ext uri="{FF2B5EF4-FFF2-40B4-BE49-F238E27FC236}">
                <a16:creationId xmlns:a16="http://schemas.microsoft.com/office/drawing/2014/main" id="{6CEA90CE-49BD-43ED-AC34-0DDE64B68213}"/>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11764597" y="6530871"/>
            <a:ext cx="246492" cy="275455"/>
          </a:xfrm>
          <a:prstGeom prst="rect">
            <a:avLst/>
          </a:prstGeom>
        </p:spPr>
      </p:pic>
      <p:pic>
        <p:nvPicPr>
          <p:cNvPr id="12" name="Gráfico 11" descr="Diseño web">
            <a:hlinkClick r:id="" action="ppaction://noaction"/>
            <a:extLst>
              <a:ext uri="{FF2B5EF4-FFF2-40B4-BE49-F238E27FC236}">
                <a16:creationId xmlns:a16="http://schemas.microsoft.com/office/drawing/2014/main" id="{DBA00EC1-FEF2-4105-B87D-E05F9616D524}"/>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11458905" y="6524323"/>
            <a:ext cx="247197" cy="247197"/>
          </a:xfrm>
          <a:prstGeom prst="rect">
            <a:avLst/>
          </a:prstGeom>
        </p:spPr>
      </p:pic>
    </p:spTree>
    <p:extLst>
      <p:ext uri="{BB962C8B-B14F-4D97-AF65-F5344CB8AC3E}">
        <p14:creationId xmlns:p14="http://schemas.microsoft.com/office/powerpoint/2010/main" val="13755156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Blank-White">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869612"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10"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11376025" cy="5039198"/>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a:t>Click to insert text</a:t>
            </a:r>
          </a:p>
          <a:p>
            <a:pPr marL="461963" lvl="1" indent="-236538">
              <a:buClr>
                <a:schemeClr val="accent4"/>
              </a:buClr>
              <a:buFont typeface="Arial" panose="020B0604020202020204" pitchFamily="34" charset="0"/>
              <a:buChar char="•"/>
            </a:pPr>
            <a:r>
              <a:rPr lang="en-US" sz="1600"/>
              <a:t>Click to insert text</a:t>
            </a:r>
            <a:endParaRPr lang="pt-PT" sz="1600"/>
          </a:p>
          <a:p>
            <a:pPr marL="688975" lvl="2" indent="-241300">
              <a:buClr>
                <a:schemeClr val="accent2"/>
              </a:buClr>
              <a:buFont typeface="Verdana" panose="020B0604030504040204" pitchFamily="34" charset="0"/>
              <a:buChar char="–"/>
            </a:pPr>
            <a:r>
              <a:rPr lang="en-US"/>
              <a:t>Click to insert text</a:t>
            </a:r>
            <a:endParaRPr lang="pt-PT"/>
          </a:p>
          <a:p>
            <a:pPr marL="914400" lvl="3" indent="-225425">
              <a:buClr>
                <a:schemeClr val="accent3"/>
              </a:buClr>
              <a:buFont typeface="Wingdings" panose="05000000000000000000" pitchFamily="2" charset="2"/>
              <a:buChar char="§"/>
            </a:pPr>
            <a:r>
              <a:rPr lang="en-US"/>
              <a:t>Click to insert text</a:t>
            </a:r>
            <a:endParaRPr lang="pt-PT"/>
          </a:p>
        </p:txBody>
      </p:sp>
    </p:spTree>
    <p:extLst>
      <p:ext uri="{BB962C8B-B14F-4D97-AF65-F5344CB8AC3E}">
        <p14:creationId xmlns:p14="http://schemas.microsoft.com/office/powerpoint/2010/main" val="6050870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ver4">
    <p:spTree>
      <p:nvGrpSpPr>
        <p:cNvPr id="1" name=""/>
        <p:cNvGrpSpPr/>
        <p:nvPr/>
      </p:nvGrpSpPr>
      <p:grpSpPr>
        <a:xfrm>
          <a:off x="0" y="0"/>
          <a:ext cx="0" cy="0"/>
          <a:chOff x="0" y="0"/>
          <a:chExt cx="0" cy="0"/>
        </a:xfrm>
      </p:grpSpPr>
      <p:sp>
        <p:nvSpPr>
          <p:cNvPr id="9" name="Freeform 8"/>
          <p:cNvSpPr/>
          <p:nvPr userDrawn="1"/>
        </p:nvSpPr>
        <p:spPr>
          <a:xfrm>
            <a:off x="2" y="0"/>
            <a:ext cx="9973295" cy="4193362"/>
          </a:xfrm>
          <a:custGeom>
            <a:avLst/>
            <a:gdLst>
              <a:gd name="connsiteX0" fmla="*/ 0 w 9973295"/>
              <a:gd name="connsiteY0" fmla="*/ 0 h 4193362"/>
              <a:gd name="connsiteX1" fmla="*/ 9912010 w 9973295"/>
              <a:gd name="connsiteY1" fmla="*/ 0 h 4193362"/>
              <a:gd name="connsiteX2" fmla="*/ 9927053 w 9973295"/>
              <a:gd name="connsiteY2" fmla="*/ 149768 h 4193362"/>
              <a:gd name="connsiteX3" fmla="*/ 7984937 w 9973295"/>
              <a:gd name="connsiteY3" fmla="*/ 4193362 h 4193362"/>
              <a:gd name="connsiteX4" fmla="*/ 0 w 9973295"/>
              <a:gd name="connsiteY4" fmla="*/ 4193362 h 4193362"/>
              <a:gd name="connsiteX5" fmla="*/ 0 w 9973295"/>
              <a:gd name="connsiteY5" fmla="*/ 0 h 4193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73295" h="4193362">
                <a:moveTo>
                  <a:pt x="0" y="0"/>
                </a:moveTo>
                <a:lnTo>
                  <a:pt x="9912010" y="0"/>
                </a:lnTo>
                <a:lnTo>
                  <a:pt x="9927053" y="149768"/>
                </a:lnTo>
                <a:cubicBezTo>
                  <a:pt x="10097391" y="2056447"/>
                  <a:pt x="9870584" y="4193362"/>
                  <a:pt x="7984937" y="4193362"/>
                </a:cubicBezTo>
                <a:cubicBezTo>
                  <a:pt x="0" y="4193362"/>
                  <a:pt x="0" y="4193362"/>
                  <a:pt x="0" y="419336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p:cNvSpPr>
            <a:spLocks noGrp="1"/>
          </p:cNvSpPr>
          <p:nvPr>
            <p:ph type="ctrTitle" hasCustomPrompt="1"/>
          </p:nvPr>
        </p:nvSpPr>
        <p:spPr>
          <a:xfrm>
            <a:off x="407988" y="131683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a:t>Title of Presentation</a:t>
            </a:r>
          </a:p>
        </p:txBody>
      </p:sp>
      <p:sp>
        <p:nvSpPr>
          <p:cNvPr id="21" name="Subtitle 2"/>
          <p:cNvSpPr>
            <a:spLocks noGrp="1"/>
          </p:cNvSpPr>
          <p:nvPr>
            <p:ph type="subTitle" idx="1" hasCustomPrompt="1"/>
          </p:nvPr>
        </p:nvSpPr>
        <p:spPr>
          <a:xfrm>
            <a:off x="407988" y="223123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0" y="-720915"/>
            <a:ext cx="4707110" cy="7276886"/>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33643785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3">
    <p:spTree>
      <p:nvGrpSpPr>
        <p:cNvPr id="1" name=""/>
        <p:cNvGrpSpPr/>
        <p:nvPr/>
      </p:nvGrpSpPr>
      <p:grpSpPr>
        <a:xfrm>
          <a:off x="0" y="0"/>
          <a:ext cx="0" cy="0"/>
          <a:chOff x="0" y="0"/>
          <a:chExt cx="0" cy="0"/>
        </a:xfrm>
      </p:grpSpPr>
      <p:sp>
        <p:nvSpPr>
          <p:cNvPr id="10" name="Freeform 9"/>
          <p:cNvSpPr/>
          <p:nvPr userDrawn="1"/>
        </p:nvSpPr>
        <p:spPr>
          <a:xfrm>
            <a:off x="0" y="0"/>
            <a:ext cx="6096000" cy="5796064"/>
          </a:xfrm>
          <a:custGeom>
            <a:avLst/>
            <a:gdLst>
              <a:gd name="connsiteX0" fmla="*/ 0 w 6096000"/>
              <a:gd name="connsiteY0" fmla="*/ 0 h 5796064"/>
              <a:gd name="connsiteX1" fmla="*/ 6096000 w 6096000"/>
              <a:gd name="connsiteY1" fmla="*/ 0 h 5796064"/>
              <a:gd name="connsiteX2" fmla="*/ 6096000 w 6096000"/>
              <a:gd name="connsiteY2" fmla="*/ 133757 h 5796064"/>
              <a:gd name="connsiteX3" fmla="*/ 6096000 w 6096000"/>
              <a:gd name="connsiteY3" fmla="*/ 4034055 h 5796064"/>
              <a:gd name="connsiteX4" fmla="*/ 0 w 6096000"/>
              <a:gd name="connsiteY4" fmla="*/ 5309105 h 5796064"/>
              <a:gd name="connsiteX5" fmla="*/ 0 w 6096000"/>
              <a:gd name="connsiteY5" fmla="*/ 8972 h 5796064"/>
              <a:gd name="connsiteX6" fmla="*/ 0 w 6096000"/>
              <a:gd name="connsiteY6" fmla="*/ 0 h 57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96064">
                <a:moveTo>
                  <a:pt x="0" y="0"/>
                </a:moveTo>
                <a:lnTo>
                  <a:pt x="6096000" y="0"/>
                </a:lnTo>
                <a:lnTo>
                  <a:pt x="6096000" y="133757"/>
                </a:lnTo>
                <a:cubicBezTo>
                  <a:pt x="6096000" y="1105896"/>
                  <a:pt x="6096000" y="2375629"/>
                  <a:pt x="6096000" y="4034055"/>
                </a:cubicBezTo>
                <a:cubicBezTo>
                  <a:pt x="6096000" y="6848354"/>
                  <a:pt x="721895" y="5492896"/>
                  <a:pt x="0" y="5309105"/>
                </a:cubicBezTo>
                <a:cubicBezTo>
                  <a:pt x="0" y="5309105"/>
                  <a:pt x="0" y="5309105"/>
                  <a:pt x="0" y="897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5" name="Rectangle 14"/>
          <p:cNvSpPr/>
          <p:nvPr userDrawn="1"/>
        </p:nvSpPr>
        <p:spPr>
          <a:xfrm>
            <a:off x="7155492" y="2453640"/>
            <a:ext cx="2219960"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b="1">
                <a:solidFill>
                  <a:schemeClr val="accent3"/>
                </a:solidFill>
                <a:latin typeface="Ubuntu" panose="020B0504030602030204" pitchFamily="34" charset="0"/>
              </a:rPr>
              <a:t>About Sogeti</a:t>
            </a:r>
          </a:p>
        </p:txBody>
      </p:sp>
      <p:sp>
        <p:nvSpPr>
          <p:cNvPr id="16" name="Rectangle 15"/>
          <p:cNvSpPr/>
          <p:nvPr userDrawn="1"/>
        </p:nvSpPr>
        <p:spPr>
          <a:xfrm>
            <a:off x="7166306" y="6109829"/>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ct val="100000"/>
              </a:lnSpc>
              <a:spcAft>
                <a:spcPts val="400"/>
              </a:spcAft>
            </a:pPr>
            <a:r>
              <a:rPr lang="en-US" sz="900" err="1">
                <a:solidFill>
                  <a:schemeClr val="tx1"/>
                </a:solidFill>
                <a:latin typeface="Ubuntu" panose="020B0504030602030204" pitchFamily="34" charset="0"/>
              </a:rPr>
              <a:t>Visítanos</a:t>
            </a:r>
            <a:r>
              <a:rPr lang="en-US" sz="900">
                <a:solidFill>
                  <a:schemeClr val="tx1"/>
                </a:solidFill>
                <a:latin typeface="Ubuntu" panose="020B0504030602030204" pitchFamily="34" charset="0"/>
              </a:rPr>
              <a:t> en:</a:t>
            </a:r>
            <a:endParaRPr lang="en-US" sz="900">
              <a:solidFill>
                <a:schemeClr val="accent3"/>
              </a:solidFill>
              <a:latin typeface="Ubuntu" panose="020B0504030602030204" pitchFamily="34" charset="0"/>
            </a:endParaRPr>
          </a:p>
          <a:p>
            <a:pPr algn="l">
              <a:lnSpc>
                <a:spcPct val="100000"/>
              </a:lnSpc>
              <a:spcAft>
                <a:spcPts val="400"/>
              </a:spcAft>
            </a:pPr>
            <a:r>
              <a:rPr lang="en-US" sz="1050" b="1">
                <a:solidFill>
                  <a:schemeClr val="accent3"/>
                </a:solidFill>
                <a:latin typeface="Ubuntu" panose="020B0504030602030204" pitchFamily="34" charset="0"/>
              </a:rPr>
              <a:t>www.sogeti.es</a:t>
            </a:r>
          </a:p>
        </p:txBody>
      </p:sp>
      <p:sp>
        <p:nvSpPr>
          <p:cNvPr id="30" name="Rectangle 29">
            <a:hlinkClick r:id="rId2"/>
          </p:cNvPr>
          <p:cNvSpPr/>
          <p:nvPr userDrawn="1"/>
        </p:nvSpPr>
        <p:spPr>
          <a:xfrm>
            <a:off x="7186450" y="6129326"/>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Ubuntu" panose="020B0504030602030204" pitchFamily="34" charset="0"/>
            </a:endParaRPr>
          </a:p>
        </p:txBody>
      </p:sp>
      <p:sp>
        <p:nvSpPr>
          <p:cNvPr id="23" name="Rectangle 22"/>
          <p:cNvSpPr/>
          <p:nvPr userDrawn="1"/>
        </p:nvSpPr>
        <p:spPr>
          <a:xfrm>
            <a:off x="420526" y="4596379"/>
            <a:ext cx="3999073" cy="446276"/>
          </a:xfrm>
          <a:prstGeom prst="rect">
            <a:avLst/>
          </a:prstGeom>
        </p:spPr>
        <p:txBody>
          <a:bodyPr wrap="square" lIns="0" tIns="0" rIns="0" bIns="0" anchor="b" anchorCtr="0">
            <a:spAutoFit/>
          </a:bodyPr>
          <a:lstStyle/>
          <a:p>
            <a:pPr algn="l">
              <a:spcAft>
                <a:spcPts val="600"/>
              </a:spcAft>
            </a:pPr>
            <a:r>
              <a:rPr lang="en-US" sz="800" noProof="0">
                <a:solidFill>
                  <a:schemeClr val="bg1"/>
                </a:solidFill>
                <a:latin typeface="+mn-lt"/>
                <a:cs typeface="Arial"/>
              </a:rPr>
              <a:t>This message contains information that may be privileged or confidential and is the property of the Capgemini Group.</a:t>
            </a:r>
          </a:p>
          <a:p>
            <a:pPr algn="l">
              <a:spcAft>
                <a:spcPts val="600"/>
              </a:spcAft>
            </a:pPr>
            <a:r>
              <a:rPr lang="en-US" sz="800" noProof="0">
                <a:solidFill>
                  <a:schemeClr val="bg1"/>
                </a:solidFill>
                <a:latin typeface="+mn-lt"/>
                <a:cs typeface="Arial"/>
              </a:rPr>
              <a:t>Copyright</a:t>
            </a:r>
            <a:r>
              <a:rPr lang="en-US" sz="800" baseline="30000" noProof="0">
                <a:solidFill>
                  <a:schemeClr val="bg1"/>
                </a:solidFill>
                <a:latin typeface="+mn-lt"/>
                <a:cs typeface="Arial"/>
              </a:rPr>
              <a:t>©</a:t>
            </a:r>
            <a:r>
              <a:rPr lang="en-US" sz="800" noProof="0">
                <a:solidFill>
                  <a:schemeClr val="bg1"/>
                </a:solidFill>
                <a:latin typeface="+mn-lt"/>
                <a:cs typeface="Arial"/>
              </a:rPr>
              <a:t> 2020 Sogeti. All rights reserved.</a:t>
            </a: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9" name="Picture 2" descr="D:\My Work\Template\Icons\Social Media\LinkedIN.png">
            <a:hlinkClick r:id="rId4"/>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5" cstate="print"/>
          <a:srcRect/>
          <a:stretch>
            <a:fillRect/>
          </a:stretch>
        </p:blipFill>
        <p:spPr bwMode="auto">
          <a:xfrm>
            <a:off x="420526" y="3962400"/>
            <a:ext cx="333195" cy="333195"/>
          </a:xfrm>
          <a:prstGeom prst="rect">
            <a:avLst/>
          </a:prstGeom>
          <a:noFill/>
        </p:spPr>
      </p:pic>
      <p:pic>
        <p:nvPicPr>
          <p:cNvPr id="12" name="Picture 5" descr="D:\My Work\Template\Icons\Social Media\Twitter.png">
            <a:hlinkClick r:id="rId6"/>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7" cstate="print"/>
          <a:srcRect/>
          <a:stretch>
            <a:fillRect/>
          </a:stretch>
        </p:blipFill>
        <p:spPr bwMode="auto">
          <a:xfrm>
            <a:off x="803902" y="3962400"/>
            <a:ext cx="333195" cy="333195"/>
          </a:xfrm>
          <a:prstGeom prst="rect">
            <a:avLst/>
          </a:prstGeom>
          <a:noFill/>
        </p:spPr>
      </p:pic>
      <p:pic>
        <p:nvPicPr>
          <p:cNvPr id="13" name="Picture 6" descr="D:\My Work\Template\Icons\Social Media\YouTube.png">
            <a:hlinkClick r:id="rId8"/>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9" cstate="print"/>
          <a:srcRect/>
          <a:stretch>
            <a:fillRect/>
          </a:stretch>
        </p:blipFill>
        <p:spPr bwMode="auto">
          <a:xfrm>
            <a:off x="1187278" y="3962400"/>
            <a:ext cx="333195" cy="333195"/>
          </a:xfrm>
          <a:prstGeom prst="rect">
            <a:avLst/>
          </a:prstGeom>
          <a:noFill/>
        </p:spPr>
      </p:pic>
      <p:sp>
        <p:nvSpPr>
          <p:cNvPr id="17" name="Rectangle 16">
            <a:extLst>
              <a:ext uri="{FF2B5EF4-FFF2-40B4-BE49-F238E27FC236}">
                <a16:creationId xmlns:a16="http://schemas.microsoft.com/office/drawing/2014/main" id="{7C9E7AB6-360B-4526-A05F-E716E577D207}"/>
              </a:ext>
            </a:extLst>
          </p:cNvPr>
          <p:cNvSpPr/>
          <p:nvPr userDrawn="1"/>
        </p:nvSpPr>
        <p:spPr>
          <a:xfrm>
            <a:off x="7155492" y="3043808"/>
            <a:ext cx="4371406"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s-ES" sz="800" b="0" i="0" kern="1200" dirty="0">
                <a:solidFill>
                  <a:schemeClr val="tx2"/>
                </a:solidFill>
                <a:effectLst/>
                <a:latin typeface="Ubuntu" panose="020B0504030602030204" pitchFamily="34" charset="0"/>
                <a:ea typeface="+mn-ea"/>
                <a:cs typeface="+mn-cs"/>
              </a:rPr>
              <a:t>Como parte del Grupo Capgemini, Sogeti opera en más de 100 localizaciones a nivel mundial. Trabajando estrechamente con clientes y socios para aprovechar al máximo las oportunidades de la tecnología, Sogeti combina agilidad y velocidad de implementación  para  diseñar  soluciones  innovadoras  enfocadas  al  futuro  en Digital </a:t>
            </a:r>
            <a:r>
              <a:rPr lang="es-ES" sz="800" b="0" i="0" kern="1200" dirty="0" err="1">
                <a:solidFill>
                  <a:schemeClr val="tx2"/>
                </a:solidFill>
                <a:effectLst/>
                <a:latin typeface="Ubuntu" panose="020B0504030602030204" pitchFamily="34" charset="0"/>
                <a:ea typeface="+mn-ea"/>
                <a:cs typeface="+mn-cs"/>
              </a:rPr>
              <a:t>Assurance</a:t>
            </a:r>
            <a:r>
              <a:rPr lang="es-ES" sz="800" b="0" i="0" kern="1200" dirty="0">
                <a:solidFill>
                  <a:schemeClr val="tx2"/>
                </a:solidFill>
                <a:effectLst/>
                <a:latin typeface="Ubuntu" panose="020B0504030602030204" pitchFamily="34" charset="0"/>
                <a:ea typeface="+mn-ea"/>
                <a:cs typeface="+mn-cs"/>
              </a:rPr>
              <a:t> &amp; Testing,  Cloud  y Ciberseguridad,  y  todo  ello,  impulsado  por  IA  y  automatización.  Con  su  enfoque  práctico  y  su  pasión  por  la tecnología, Sogeti ayuda a las organizaciones a implementar su transformación digital a gran velocidad. </a:t>
            </a:r>
          </a:p>
          <a:p>
            <a:pPr algn="just"/>
            <a:endParaRPr lang="es-ES" sz="800" b="0" i="0" kern="1200" dirty="0">
              <a:solidFill>
                <a:schemeClr val="tx2"/>
              </a:solidFill>
              <a:effectLst/>
              <a:latin typeface="Ubuntu" panose="020B0504030602030204" pitchFamily="34" charset="0"/>
              <a:ea typeface="+mn-ea"/>
              <a:cs typeface="+mn-cs"/>
            </a:endParaRPr>
          </a:p>
          <a:p>
            <a:pPr algn="just"/>
            <a:r>
              <a:rPr lang="es-ES" sz="800" b="0" i="0" kern="1200" dirty="0">
                <a:solidFill>
                  <a:schemeClr val="tx2"/>
                </a:solidFill>
                <a:effectLst/>
                <a:latin typeface="Ubuntu" panose="020B0504030602030204" pitchFamily="34" charset="0"/>
                <a:ea typeface="+mn-ea"/>
                <a:cs typeface="+mn-cs"/>
              </a:rPr>
              <a:t>Capgemini   es   un   líder global en consultoría, transformación digital, servicios de tecnología e   ingeniería. El Grupo Capgemini está a la vanguardia de la innovación para abordar la diversidad de oportunidades que tienen sus clientes en el dinámico mundo de las plataformas, la nube y lo digital. Respaldada por una sólida trayectoria de más de 50 años y una dilatada experiencia multisectorial, Capgemini ayuda a las compañías a alcanzar sus objetivos de negocio mediante una amplia gama de servicios que cubre desde la estrategia, hasta las operaciones. Capgemini actúa bajo la firme convicción de que el valor de negocio de la tecnología se genera y desarrolla a través de las personas. Hoy es una compañía multicultural de 270.000 profesionales, presente en casi 50países. Con </a:t>
            </a:r>
            <a:r>
              <a:rPr lang="es-ES" sz="800" b="0" i="0" kern="1200" dirty="0" err="1">
                <a:solidFill>
                  <a:schemeClr val="tx2"/>
                </a:solidFill>
                <a:effectLst/>
                <a:latin typeface="Ubuntu" panose="020B0504030602030204" pitchFamily="34" charset="0"/>
                <a:ea typeface="+mn-ea"/>
                <a:cs typeface="+mn-cs"/>
              </a:rPr>
              <a:t>Altran</a:t>
            </a:r>
            <a:r>
              <a:rPr lang="es-ES" sz="800" b="0" i="0" kern="1200" dirty="0">
                <a:solidFill>
                  <a:schemeClr val="tx2"/>
                </a:solidFill>
                <a:effectLst/>
                <a:latin typeface="Ubuntu" panose="020B0504030602030204" pitchFamily="34" charset="0"/>
                <a:ea typeface="+mn-ea"/>
                <a:cs typeface="+mn-cs"/>
              </a:rPr>
              <a:t>, el Grupo registró en 2019 unos ingresos combinados de 17 mil millones de euros. </a:t>
            </a:r>
            <a:r>
              <a:rPr lang="es-ES" sz="800" b="0" i="1" kern="1200" dirty="0">
                <a:solidFill>
                  <a:schemeClr val="tx2"/>
                </a:solidFill>
                <a:effectLst/>
                <a:latin typeface="Ubuntu" panose="020B0504030602030204" pitchFamily="34" charset="0"/>
                <a:ea typeface="+mn-ea"/>
                <a:cs typeface="+mn-cs"/>
              </a:rPr>
              <a:t>People </a:t>
            </a:r>
            <a:r>
              <a:rPr lang="es-ES" sz="800" b="0" i="1" kern="1200" dirty="0" err="1">
                <a:solidFill>
                  <a:schemeClr val="tx2"/>
                </a:solidFill>
                <a:effectLst/>
                <a:latin typeface="Ubuntu" panose="020B0504030602030204" pitchFamily="34" charset="0"/>
                <a:ea typeface="+mn-ea"/>
                <a:cs typeface="+mn-cs"/>
              </a:rPr>
              <a:t>matter</a:t>
            </a:r>
            <a:r>
              <a:rPr lang="es-ES" sz="800" b="0" i="1" kern="1200" dirty="0">
                <a:solidFill>
                  <a:schemeClr val="tx2"/>
                </a:solidFill>
                <a:effectLst/>
                <a:latin typeface="Ubuntu" panose="020B0504030602030204" pitchFamily="34" charset="0"/>
                <a:ea typeface="+mn-ea"/>
                <a:cs typeface="+mn-cs"/>
              </a:rPr>
              <a:t>, </a:t>
            </a:r>
            <a:r>
              <a:rPr lang="es-ES" sz="800" b="0" i="1" kern="1200" dirty="0" err="1">
                <a:solidFill>
                  <a:schemeClr val="tx2"/>
                </a:solidFill>
                <a:effectLst/>
                <a:latin typeface="Ubuntu" panose="020B0504030602030204" pitchFamily="34" charset="0"/>
                <a:ea typeface="+mn-ea"/>
                <a:cs typeface="+mn-cs"/>
              </a:rPr>
              <a:t>results</a:t>
            </a:r>
            <a:r>
              <a:rPr lang="es-ES" sz="800" b="0" i="1" kern="1200" dirty="0">
                <a:solidFill>
                  <a:schemeClr val="tx2"/>
                </a:solidFill>
                <a:effectLst/>
                <a:latin typeface="Ubuntu" panose="020B0504030602030204" pitchFamily="34" charset="0"/>
                <a:ea typeface="+mn-ea"/>
                <a:cs typeface="+mn-cs"/>
              </a:rPr>
              <a:t> </a:t>
            </a:r>
            <a:r>
              <a:rPr lang="es-ES" sz="800" b="0" i="1" kern="1200" dirty="0" err="1">
                <a:solidFill>
                  <a:schemeClr val="tx2"/>
                </a:solidFill>
                <a:effectLst/>
                <a:latin typeface="Ubuntu" panose="020B0504030602030204" pitchFamily="34" charset="0"/>
                <a:ea typeface="+mn-ea"/>
                <a:cs typeface="+mn-cs"/>
              </a:rPr>
              <a:t>count</a:t>
            </a:r>
            <a:r>
              <a:rPr lang="es-ES" sz="800" b="0" i="1" kern="1200" dirty="0">
                <a:solidFill>
                  <a:schemeClr val="tx2"/>
                </a:solidFill>
                <a:effectLst/>
                <a:latin typeface="Ubuntu" panose="020B0504030602030204" pitchFamily="34" charset="0"/>
                <a:ea typeface="+mn-ea"/>
                <a:cs typeface="+mn-cs"/>
              </a:rPr>
              <a:t>.</a:t>
            </a:r>
            <a:endParaRPr lang="fr-FR" sz="800" i="1" kern="1200" dirty="0">
              <a:solidFill>
                <a:schemeClr val="tx2"/>
              </a:solidFill>
              <a:effectLst/>
              <a:latin typeface="Ubuntu" panose="020B0504030602030204" pitchFamily="34" charset="0"/>
              <a:ea typeface="+mn-ea"/>
              <a:cs typeface="+mn-cs"/>
            </a:endParaRPr>
          </a:p>
        </p:txBody>
      </p:sp>
    </p:spTree>
    <p:extLst>
      <p:ext uri="{BB962C8B-B14F-4D97-AF65-F5344CB8AC3E}">
        <p14:creationId xmlns:p14="http://schemas.microsoft.com/office/powerpoint/2010/main" val="33183730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 content - purple back">
    <p:bg>
      <p:bgPr>
        <a:solidFill>
          <a:srgbClr val="2B0A3D"/>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07988" y="252000"/>
            <a:ext cx="11403012" cy="900000"/>
          </a:xfrm>
        </p:spPr>
        <p:txBody>
          <a:bodyPr vert="horz" lIns="0" tIns="0" rIns="0" bIns="0" rtlCol="0" anchor="ctr" anchorCtr="0">
            <a:noAutofit/>
          </a:bodyPr>
          <a:lstStyle>
            <a:lvl1pPr>
              <a:defRPr lang="en-GB" sz="3000" dirty="0">
                <a:solidFill>
                  <a:schemeClr val="bg1"/>
                </a:solidFill>
                <a:latin typeface="Ubuntu" panose="020B0504030602030204" pitchFamily="34" charset="0"/>
              </a:defRPr>
            </a:lvl1pPr>
          </a:lstStyle>
          <a:p>
            <a:pPr marL="0" lvl="0"/>
            <a:r>
              <a:rPr lang="en-US"/>
              <a:t>Click to edit Master title style</a:t>
            </a:r>
            <a:endParaRPr lang="en-GB"/>
          </a:p>
        </p:txBody>
      </p:sp>
      <p:sp>
        <p:nvSpPr>
          <p:cNvPr id="4" name="Text Placeholder 3">
            <a:extLst>
              <a:ext uri="{FF2B5EF4-FFF2-40B4-BE49-F238E27FC236}">
                <a16:creationId xmlns:a16="http://schemas.microsoft.com/office/drawing/2014/main" id="{3F3C6E84-978E-42E3-8BB5-D2BAAEA98165}"/>
              </a:ext>
            </a:extLst>
          </p:cNvPr>
          <p:cNvSpPr>
            <a:spLocks noGrp="1"/>
          </p:cNvSpPr>
          <p:nvPr>
            <p:ph type="body" sz="quarter" idx="10"/>
          </p:nvPr>
        </p:nvSpPr>
        <p:spPr>
          <a:xfrm>
            <a:off x="407988" y="1368781"/>
            <a:ext cx="11403012" cy="4876800"/>
          </a:xfrm>
        </p:spPr>
        <p:txBody>
          <a:bodyPr tIns="36000">
            <a:noAutofit/>
          </a:bodyPr>
          <a:lstStyle>
            <a:lvl1pPr>
              <a:defRPr spc="-20" baseline="0">
                <a:solidFill>
                  <a:schemeClr val="bg1"/>
                </a:solidFill>
              </a:defRPr>
            </a:lvl1pPr>
            <a:lvl2pPr>
              <a:defRPr spc="-20" baseline="0">
                <a:solidFill>
                  <a:schemeClr val="bg1"/>
                </a:solidFill>
              </a:defRPr>
            </a:lvl2pPr>
            <a:lvl3pPr>
              <a:defRPr spc="-20" baseline="0">
                <a:solidFill>
                  <a:schemeClr val="bg1"/>
                </a:solidFill>
              </a:defRPr>
            </a:lvl3pPr>
            <a:lvl4pPr>
              <a:defRPr spc="-20" baseline="0">
                <a:solidFill>
                  <a:schemeClr val="bg1"/>
                </a:solidFill>
              </a:defRPr>
            </a:lvl4pPr>
            <a:lvl5pPr marL="1076325" indent="-228600">
              <a:defRPr spc="-2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14122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En blanco">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589988"/>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498012" cy="863600"/>
          </a:xfrm>
          <a:prstGeom prst="rect">
            <a:avLst/>
          </a:prstGeom>
        </p:spPr>
        <p:txBody>
          <a:bodyPr vert="horz" lIns="0" tIns="0" rIns="0" bIns="0" rtlCol="0" anchor="t">
            <a:normAutofit/>
          </a:bodyPr>
          <a:lstStyle>
            <a:lvl1pPr>
              <a:defRPr lang="pt-PT" b="1" i="0" dirty="0">
                <a:latin typeface="Ubuntu" panose="020B0504030602030204" pitchFamily="34" charset="0"/>
              </a:defRPr>
            </a:lvl1pPr>
          </a:lstStyle>
          <a:p>
            <a:pPr lvl="0">
              <a:lnSpc>
                <a:spcPts val="3000"/>
              </a:lnSpc>
            </a:pPr>
            <a:r>
              <a:rPr lang="en-US"/>
              <a:t>Click to add title</a:t>
            </a:r>
            <a:endParaRPr lang="pt-PT"/>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79814" y="6555758"/>
            <a:ext cx="2591986" cy="219456"/>
          </a:xfrm>
          <a:prstGeom prst="rect">
            <a:avLst/>
          </a:prstGeom>
        </p:spPr>
        <p:txBody>
          <a:bodyPr wrap="none" lIns="0" tIns="0" rIns="0" bIns="0" anchor="ctr">
            <a:noAutofit/>
          </a:bodyPr>
          <a:lstStyle/>
          <a:p>
            <a:pPr>
              <a:lnSpc>
                <a:spcPct val="100000"/>
              </a:lnSpc>
            </a:pPr>
            <a:r>
              <a:rPr lang="en-US" sz="800">
                <a:solidFill>
                  <a:schemeClr val="bg2">
                    <a:lumMod val="50000"/>
                  </a:schemeClr>
                </a:solidFill>
                <a:cs typeface="Arial" panose="020B0604020202020204" pitchFamily="34" charset="0"/>
              </a:rPr>
              <a:t>© 2020 Sogeti. All rights reserved.</a:t>
            </a:r>
          </a:p>
        </p:txBody>
      </p:sp>
      <p:pic>
        <p:nvPicPr>
          <p:cNvPr id="5" name="Imagen 4">
            <a:extLst>
              <a:ext uri="{FF2B5EF4-FFF2-40B4-BE49-F238E27FC236}">
                <a16:creationId xmlns:a16="http://schemas.microsoft.com/office/drawing/2014/main" id="{0C29C71A-B665-46B6-9792-7D3B8F6B4BD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640291" y="304800"/>
            <a:ext cx="1190162" cy="616905"/>
          </a:xfrm>
          <a:prstGeom prst="rect">
            <a:avLst/>
          </a:prstGeom>
        </p:spPr>
      </p:pic>
    </p:spTree>
    <p:extLst>
      <p:ext uri="{BB962C8B-B14F-4D97-AF65-F5344CB8AC3E}">
        <p14:creationId xmlns:p14="http://schemas.microsoft.com/office/powerpoint/2010/main" val="33994362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5_Cover1">
    <p:spTree>
      <p:nvGrpSpPr>
        <p:cNvPr id="1" name=""/>
        <p:cNvGrpSpPr/>
        <p:nvPr/>
      </p:nvGrpSpPr>
      <p:grpSpPr>
        <a:xfrm>
          <a:off x="0" y="0"/>
          <a:ext cx="0" cy="0"/>
          <a:chOff x="0" y="0"/>
          <a:chExt cx="0" cy="0"/>
        </a:xfrm>
      </p:grpSpPr>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dirty="0"/>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spTree>
    <p:extLst>
      <p:ext uri="{BB962C8B-B14F-4D97-AF65-F5344CB8AC3E}">
        <p14:creationId xmlns:p14="http://schemas.microsoft.com/office/powerpoint/2010/main" val="34310307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0"/>
                                  </p:stCondLst>
                                  <p:childTnLst>
                                    <p:set>
                                      <p:cBhvr>
                                        <p:cTn id="6" dur="1" fill="hold">
                                          <p:stCondLst>
                                            <p:cond delay="0"/>
                                          </p:stCondLst>
                                        </p:cTn>
                                        <p:tgtEl>
                                          <p:spTgt spid="1415"/>
                                        </p:tgtEl>
                                        <p:attrNameLst>
                                          <p:attrName>style.visibility</p:attrName>
                                        </p:attrNameLst>
                                      </p:cBhvr>
                                      <p:to>
                                        <p:strVal val="visible"/>
                                      </p:to>
                                    </p:set>
                                    <p:animEffect transition="in" filter="fade">
                                      <p:cBhvr>
                                        <p:cTn id="7" dur="1000"/>
                                        <p:tgtEl>
                                          <p:spTgt spid="14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15" grpId="0" animBg="1"/>
    </p:bldLst>
  </p:timing>
  <p:extLst>
    <p:ext uri="{DCECCB84-F9BA-43D5-87BE-67443E8EF086}">
      <p15:sldGuideLst xmlns:p15="http://schemas.microsoft.com/office/powerpoint/2012/main">
        <p15:guide id="1" pos="721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x">
  <p:cSld name="7_Cover2">
    <p:spTree>
      <p:nvGrpSpPr>
        <p:cNvPr id="1" name=""/>
        <p:cNvGrpSpPr/>
        <p:nvPr/>
      </p:nvGrpSpPr>
      <p:grpSpPr>
        <a:xfrm>
          <a:off x="0" y="0"/>
          <a:ext cx="0" cy="0"/>
          <a:chOff x="0" y="0"/>
          <a:chExt cx="0" cy="0"/>
        </a:xfrm>
      </p:grpSpPr>
      <p:sp>
        <p:nvSpPr>
          <p:cNvPr id="540" name="Número de diapositiva"/>
          <p:cNvSpPr>
            <a:spLocks noGrp="1"/>
          </p:cNvSpPr>
          <p:nvPr>
            <p:ph type="sldNum" sz="quarter" idx="2"/>
          </p:nvPr>
        </p:nvSpPr>
        <p:spPr>
          <a:xfrm>
            <a:off x="8213097" y="6171686"/>
            <a:ext cx="524503" cy="369330"/>
          </a:xfrm>
          <a:prstGeom prst="rect">
            <a:avLst/>
          </a:prstGeom>
        </p:spPr>
        <p:txBody>
          <a:bodyPr anchor="ctr"/>
          <a:lstStyle>
            <a:lvl1pPr>
              <a:defRPr sz="1200">
                <a:solidFill>
                  <a:srgbClr val="000000"/>
                </a:solidFill>
              </a:defRPr>
            </a:lvl1pPr>
          </a:lstStyle>
          <a:p>
            <a:fld id="{86CB4B4D-7CA3-9044-876B-883B54F8677D}" type="slidenum">
              <a:t>‹#›</a:t>
            </a:fld>
            <a:endParaRPr/>
          </a:p>
        </p:txBody>
      </p:sp>
      <p:sp>
        <p:nvSpPr>
          <p:cNvPr id="4" name="Retângulo 43">
            <a:extLst>
              <a:ext uri="{FF2B5EF4-FFF2-40B4-BE49-F238E27FC236}">
                <a16:creationId xmlns:a16="http://schemas.microsoft.com/office/drawing/2014/main" id="{93E7F356-56E8-412E-9185-F29C1775AAF0}"/>
              </a:ext>
            </a:extLst>
          </p:cNvPr>
          <p:cNvSpPr/>
          <p:nvPr userDrawn="1"/>
        </p:nvSpPr>
        <p:spPr>
          <a:xfrm>
            <a:off x="9256929" y="6586492"/>
            <a:ext cx="2725673" cy="180425"/>
          </a:xfrm>
          <a:prstGeom prst="rect">
            <a:avLst/>
          </a:prstGeom>
        </p:spPr>
        <p:txBody>
          <a:bodyPr wrap="none" lIns="36000" tIns="36000" rIns="36000" bIns="3600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dirty="0">
                <a:solidFill>
                  <a:schemeClr val="bg2">
                    <a:lumMod val="50000"/>
                  </a:schemeClr>
                </a:solidFill>
                <a:cs typeface="Arial" panose="020B0604020202020204" pitchFamily="34" charset="0"/>
              </a:rPr>
              <a:t>Company confidential   © 2021 Sogeti. All rights reserved.</a:t>
            </a:r>
            <a:endParaRPr lang="en-US" sz="700" dirty="0">
              <a:solidFill>
                <a:schemeClr val="bg2">
                  <a:lumMod val="50000"/>
                </a:schemeClr>
              </a:solidFill>
            </a:endParaRPr>
          </a:p>
        </p:txBody>
      </p:sp>
    </p:spTree>
    <p:extLst>
      <p:ext uri="{BB962C8B-B14F-4D97-AF65-F5344CB8AC3E}">
        <p14:creationId xmlns:p14="http://schemas.microsoft.com/office/powerpoint/2010/main" val="3428991858"/>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Blank-White">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498012" cy="863600"/>
          </a:xfrm>
          <a:prstGeom prst="rect">
            <a:avLst/>
          </a:prstGeom>
        </p:spPr>
        <p:txBody>
          <a:bodyPr vert="horz" lIns="0" tIns="0" rIns="0" bIns="0" rtlCol="0" anchor="t">
            <a:normAutofit/>
          </a:bodyPr>
          <a:lstStyle>
            <a:lvl1pPr>
              <a:defRPr lang="pt-PT" b="1" i="0" dirty="0">
                <a:latin typeface="Ubuntu" panose="020B0504030602030204" pitchFamily="34" charset="0"/>
              </a:defRPr>
            </a:lvl1pPr>
          </a:lstStyle>
          <a:p>
            <a:pPr lvl="0">
              <a:lnSpc>
                <a:spcPts val="3000"/>
              </a:lnSpc>
            </a:pPr>
            <a:r>
              <a:rPr lang="en-US"/>
              <a:t>Click to add title</a:t>
            </a:r>
            <a:endParaRPr lang="pt-PT"/>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79814" y="6555758"/>
            <a:ext cx="2591986" cy="219456"/>
          </a:xfrm>
          <a:prstGeom prst="rect">
            <a:avLst/>
          </a:prstGeom>
        </p:spPr>
        <p:txBody>
          <a:bodyPr wrap="none" lIns="0" tIns="0" rIns="0" bIns="0" anchor="ctr">
            <a:noAutofit/>
          </a:bodyPr>
          <a:lstStyle/>
          <a:p>
            <a:pPr>
              <a:lnSpc>
                <a:spcPct val="100000"/>
              </a:lnSpc>
            </a:pPr>
            <a:r>
              <a:rPr lang="en-US" sz="800">
                <a:solidFill>
                  <a:schemeClr val="bg2">
                    <a:lumMod val="50000"/>
                  </a:schemeClr>
                </a:solidFill>
                <a:cs typeface="Arial" panose="020B0604020202020204" pitchFamily="34" charset="0"/>
              </a:rPr>
              <a:t>© 2020 Sogeti. All rights reserved.</a:t>
            </a:r>
          </a:p>
        </p:txBody>
      </p:sp>
      <p:pic>
        <p:nvPicPr>
          <p:cNvPr id="7" name="Gráfico 6" descr="Inicio">
            <a:hlinkClick r:id="" action="ppaction://noaction"/>
            <a:extLst>
              <a:ext uri="{FF2B5EF4-FFF2-40B4-BE49-F238E27FC236}">
                <a16:creationId xmlns:a16="http://schemas.microsoft.com/office/drawing/2014/main" id="{3B826228-1357-424A-93BC-09F8E8312AE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80316" y="6527273"/>
            <a:ext cx="248169" cy="231805"/>
          </a:xfrm>
          <a:prstGeom prst="rect">
            <a:avLst/>
          </a:prstGeom>
        </p:spPr>
      </p:pic>
      <p:pic>
        <p:nvPicPr>
          <p:cNvPr id="8" name="Gráfico 7" descr="Marca de verificación">
            <a:hlinkClick r:id="" action="ppaction://noaction"/>
            <a:extLst>
              <a:ext uri="{FF2B5EF4-FFF2-40B4-BE49-F238E27FC236}">
                <a16:creationId xmlns:a16="http://schemas.microsoft.com/office/drawing/2014/main" id="{A9D88D05-B555-4105-B160-2515484CE3B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190673" y="6518477"/>
            <a:ext cx="209737" cy="240601"/>
          </a:xfrm>
          <a:prstGeom prst="rect">
            <a:avLst/>
          </a:prstGeom>
        </p:spPr>
      </p:pic>
      <p:pic>
        <p:nvPicPr>
          <p:cNvPr id="10" name="Gráfico 9" descr="Bombilla y equipo">
            <a:hlinkClick r:id="" action="ppaction://noaction"/>
            <a:extLst>
              <a:ext uri="{FF2B5EF4-FFF2-40B4-BE49-F238E27FC236}">
                <a16:creationId xmlns:a16="http://schemas.microsoft.com/office/drawing/2014/main" id="{6BD3EDC8-38F5-49A5-8F3B-EAF423D92D9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944737" y="6547689"/>
            <a:ext cx="209737" cy="195908"/>
          </a:xfrm>
          <a:prstGeom prst="rect">
            <a:avLst/>
          </a:prstGeom>
        </p:spPr>
      </p:pic>
      <p:pic>
        <p:nvPicPr>
          <p:cNvPr id="11" name="Gráfico 10" descr="Repetir">
            <a:hlinkClick r:id="" action="ppaction://noaction"/>
            <a:extLst>
              <a:ext uri="{FF2B5EF4-FFF2-40B4-BE49-F238E27FC236}">
                <a16:creationId xmlns:a16="http://schemas.microsoft.com/office/drawing/2014/main" id="{417A97FF-C031-46D6-9330-26FE23D28EBE}"/>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673612" y="6530871"/>
            <a:ext cx="220767" cy="231805"/>
          </a:xfrm>
          <a:prstGeom prst="rect">
            <a:avLst/>
          </a:prstGeom>
        </p:spPr>
      </p:pic>
      <p:pic>
        <p:nvPicPr>
          <p:cNvPr id="12" name="Gráfico 11" descr="Discurso">
            <a:hlinkClick r:id="rId10" action="ppaction://hlinksldjump" tooltip="Customer stories"/>
            <a:extLst>
              <a:ext uri="{FF2B5EF4-FFF2-40B4-BE49-F238E27FC236}">
                <a16:creationId xmlns:a16="http://schemas.microsoft.com/office/drawing/2014/main" id="{B07188C4-3463-4A9C-9C6C-52BAB98F6AAA}"/>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11764597" y="6530871"/>
            <a:ext cx="246492" cy="275455"/>
          </a:xfrm>
          <a:prstGeom prst="rect">
            <a:avLst/>
          </a:prstGeom>
        </p:spPr>
      </p:pic>
      <p:pic>
        <p:nvPicPr>
          <p:cNvPr id="13" name="Gráfico 12" descr="Diseño web">
            <a:hlinkClick r:id="" action="ppaction://noaction"/>
            <a:extLst>
              <a:ext uri="{FF2B5EF4-FFF2-40B4-BE49-F238E27FC236}">
                <a16:creationId xmlns:a16="http://schemas.microsoft.com/office/drawing/2014/main" id="{410D0330-7D7C-4386-998A-CDFFDCA73CD2}"/>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1458905" y="6524323"/>
            <a:ext cx="247197" cy="247197"/>
          </a:xfrm>
          <a:prstGeom prst="rect">
            <a:avLst/>
          </a:prstGeom>
        </p:spPr>
      </p:pic>
    </p:spTree>
    <p:extLst>
      <p:ext uri="{BB962C8B-B14F-4D97-AF65-F5344CB8AC3E}">
        <p14:creationId xmlns:p14="http://schemas.microsoft.com/office/powerpoint/2010/main" val="22819796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 content - grey back">
    <p:bg>
      <p:bgPr>
        <a:solidFill>
          <a:srgbClr val="F5F5F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199C2-CE1A-4360-A4AE-0962475BE0F1}"/>
              </a:ext>
            </a:extLst>
          </p:cNvPr>
          <p:cNvSpPr>
            <a:spLocks noGrp="1"/>
          </p:cNvSpPr>
          <p:nvPr>
            <p:ph type="title"/>
          </p:nvPr>
        </p:nvSpPr>
        <p:spPr>
          <a:xfrm>
            <a:off x="407988" y="252000"/>
            <a:ext cx="11403012" cy="900000"/>
          </a:xfrm>
        </p:spPr>
        <p:txBody>
          <a:bodyPr vert="horz" lIns="0" tIns="0" rIns="0" bIns="0" rtlCol="0" anchor="ctr" anchorCtr="0">
            <a:noAutofit/>
          </a:bodyPr>
          <a:lstStyle>
            <a:lvl1pPr>
              <a:lnSpc>
                <a:spcPct val="88000"/>
              </a:lnSpc>
              <a:defRPr lang="en-US" baseline="0" dirty="0"/>
            </a:lvl1pPr>
          </a:lstStyle>
          <a:p>
            <a:pPr lvl="0"/>
            <a:r>
              <a:rPr lang="en-US"/>
              <a:t>Click to edit Master title style</a:t>
            </a:r>
          </a:p>
        </p:txBody>
      </p:sp>
      <p:sp>
        <p:nvSpPr>
          <p:cNvPr id="4" name="Text Placeholder 3">
            <a:extLst>
              <a:ext uri="{FF2B5EF4-FFF2-40B4-BE49-F238E27FC236}">
                <a16:creationId xmlns:a16="http://schemas.microsoft.com/office/drawing/2014/main" id="{3D43CD70-0B97-488B-A9E4-844B756A36CC}"/>
              </a:ext>
            </a:extLst>
          </p:cNvPr>
          <p:cNvSpPr>
            <a:spLocks noGrp="1"/>
          </p:cNvSpPr>
          <p:nvPr>
            <p:ph type="body" sz="quarter" idx="10"/>
          </p:nvPr>
        </p:nvSpPr>
        <p:spPr>
          <a:xfrm>
            <a:off x="407988" y="1368781"/>
            <a:ext cx="11403012" cy="4876800"/>
          </a:xfrm>
        </p:spPr>
        <p:txBody>
          <a:bodyPr tIns="36000">
            <a:noAutofit/>
          </a:bodyPr>
          <a:lstStyle>
            <a:lvl1pPr>
              <a:defRPr spc="-20" baseline="0"/>
            </a:lvl1pPr>
            <a:lvl2pPr>
              <a:defRPr spc="-20" baseline="0"/>
            </a:lvl2pPr>
            <a:lvl3pPr>
              <a:defRPr spc="-20" baseline="0"/>
            </a:lvl3pPr>
            <a:lvl4pPr>
              <a:defRPr spc="-20" baseline="0"/>
            </a:lvl4pPr>
            <a:lvl5pPr marL="1076325" indent="-228600">
              <a:defRPr spc="-2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027399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Two columns">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664661" y="519147"/>
            <a:ext cx="2481861" cy="2312508"/>
          </a:xfrm>
          <a:prstGeom prst="rect">
            <a:avLst/>
          </a:prstGeom>
        </p:spPr>
        <p:txBody>
          <a:bodyPr vert="horz" lIns="0" tIns="0" rIns="0" bIns="0" rtlCol="0" anchor="t">
            <a:normAutofit/>
          </a:bodyPr>
          <a:lstStyle>
            <a:lvl1pPr>
              <a:defRPr lang="pt-PT" b="0" dirty="0">
                <a:solidFill>
                  <a:schemeClr val="accent1"/>
                </a:solidFill>
                <a:latin typeface="Ubuntu" panose="020B0504030602030204" pitchFamily="34" charset="0"/>
              </a:defRPr>
            </a:lvl1pPr>
          </a:lstStyle>
          <a:p>
            <a:pPr lvl="0">
              <a:lnSpc>
                <a:spcPts val="3000"/>
              </a:lnSpc>
            </a:pPr>
            <a:r>
              <a:rPr lang="en-US" dirty="0"/>
              <a:t>Click to insert title</a:t>
            </a:r>
            <a:endParaRPr lang="pt-PT" dirty="0"/>
          </a:p>
        </p:txBody>
      </p:sp>
      <p:sp>
        <p:nvSpPr>
          <p:cNvPr id="26" name="Retângulo 43">
            <a:extLst>
              <a:ext uri="{FF2B5EF4-FFF2-40B4-BE49-F238E27FC236}">
                <a16:creationId xmlns:a16="http://schemas.microsoft.com/office/drawing/2014/main" id="{834ADCB4-BFB1-450D-8F6D-64217F4CD92C}"/>
              </a:ext>
            </a:extLst>
          </p:cNvPr>
          <p:cNvSpPr/>
          <p:nvPr userDrawn="1"/>
        </p:nvSpPr>
        <p:spPr>
          <a:xfrm>
            <a:off x="9388728" y="6553200"/>
            <a:ext cx="2591986" cy="219456"/>
          </a:xfrm>
          <a:prstGeom prst="rect">
            <a:avLst/>
          </a:prstGeom>
        </p:spPr>
        <p:txBody>
          <a:bodyPr wrap="none" lIns="0" tIns="0" rIns="0" bIns="0" anchor="ctr">
            <a:noAutofit/>
          </a:bodyPr>
          <a:lstStyle/>
          <a:p>
            <a:pPr algn="r">
              <a:lnSpc>
                <a:spcPct val="100000"/>
              </a:lnSpc>
            </a:pPr>
            <a:r>
              <a:rPr lang="en-US" sz="800" dirty="0">
                <a:solidFill>
                  <a:schemeClr val="bg2">
                    <a:lumMod val="50000"/>
                  </a:schemeClr>
                </a:solidFill>
                <a:cs typeface="Arial" panose="020B0604020202020204" pitchFamily="34" charset="0"/>
              </a:rPr>
              <a:t>© 2022 Sogeti. All rights reserved.</a:t>
            </a:r>
          </a:p>
        </p:txBody>
      </p:sp>
      <p:pic>
        <p:nvPicPr>
          <p:cNvPr id="17" name="Imagen 16">
            <a:extLst>
              <a:ext uri="{FF2B5EF4-FFF2-40B4-BE49-F238E27FC236}">
                <a16:creationId xmlns:a16="http://schemas.microsoft.com/office/drawing/2014/main" id="{B19D9FA0-2C4F-C34D-8626-CD98EE45060D}"/>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724883" y="280737"/>
            <a:ext cx="1126672" cy="583996"/>
          </a:xfrm>
          <a:prstGeom prst="rect">
            <a:avLst/>
          </a:prstGeom>
        </p:spPr>
      </p:pic>
      <p:grpSp>
        <p:nvGrpSpPr>
          <p:cNvPr id="6" name="Grupo 5">
            <a:extLst>
              <a:ext uri="{FF2B5EF4-FFF2-40B4-BE49-F238E27FC236}">
                <a16:creationId xmlns:a16="http://schemas.microsoft.com/office/drawing/2014/main" id="{680C26BF-65C4-4DCE-A95A-DE56A0707409}"/>
              </a:ext>
            </a:extLst>
          </p:cNvPr>
          <p:cNvGrpSpPr/>
          <p:nvPr userDrawn="1"/>
        </p:nvGrpSpPr>
        <p:grpSpPr>
          <a:xfrm>
            <a:off x="8596132" y="5141495"/>
            <a:ext cx="3595868" cy="1335848"/>
            <a:chOff x="3127029" y="829145"/>
            <a:chExt cx="8153400" cy="3028950"/>
          </a:xfrm>
        </p:grpSpPr>
        <p:pic>
          <p:nvPicPr>
            <p:cNvPr id="7" name="Imagen 6" descr="Imagen en blanco y negro&#10;&#10;Descripción generada automáticamente con confianza baja">
              <a:extLst>
                <a:ext uri="{FF2B5EF4-FFF2-40B4-BE49-F238E27FC236}">
                  <a16:creationId xmlns:a16="http://schemas.microsoft.com/office/drawing/2014/main" id="{56B94984-F553-4961-B895-CFB3949E2F96}"/>
                </a:ext>
              </a:extLst>
            </p:cNvPr>
            <p:cNvPicPr>
              <a:picLocks noChangeAspect="1"/>
            </p:cNvPicPr>
            <p:nvPr/>
          </p:nvPicPr>
          <p:blipFill rotWithShape="1">
            <a:blip r:embed="rId3">
              <a:duotone>
                <a:prstClr val="black"/>
                <a:sysClr val="windowText" lastClr="000000">
                  <a:tint val="45000"/>
                  <a:satMod val="400000"/>
                </a:sysClr>
              </a:duotone>
              <a:alphaModFix/>
              <a:extLst>
                <a:ext uri="{BEBA8EAE-BF5A-486C-A8C5-ECC9F3942E4B}">
                  <a14:imgProps xmlns:a14="http://schemas.microsoft.com/office/drawing/2010/main">
                    <a14:imgLayer r:embed="rId4">
                      <a14:imgEffect>
                        <a14:colorTemperature colorTemp="6059"/>
                      </a14:imgEffect>
                      <a14:imgEffect>
                        <a14:saturation sat="399000"/>
                      </a14:imgEffect>
                    </a14:imgLayer>
                  </a14:imgProps>
                </a:ext>
              </a:extLst>
            </a:blip>
            <a:srcRect t="26633" r="21015" b="44025"/>
            <a:stretch/>
          </p:blipFill>
          <p:spPr>
            <a:xfrm>
              <a:off x="3127029" y="829145"/>
              <a:ext cx="8153400" cy="3028950"/>
            </a:xfrm>
            <a:prstGeom prst="rect">
              <a:avLst/>
            </a:prstGeom>
          </p:spPr>
        </p:pic>
        <p:sp>
          <p:nvSpPr>
            <p:cNvPr id="8" name="Rectángulo 7">
              <a:extLst>
                <a:ext uri="{FF2B5EF4-FFF2-40B4-BE49-F238E27FC236}">
                  <a16:creationId xmlns:a16="http://schemas.microsoft.com/office/drawing/2014/main" id="{47716A5E-984D-42A6-AD7E-B014BD591642}"/>
                </a:ext>
              </a:extLst>
            </p:cNvPr>
            <p:cNvSpPr/>
            <p:nvPr/>
          </p:nvSpPr>
          <p:spPr>
            <a:xfrm>
              <a:off x="6378473" y="2615873"/>
              <a:ext cx="2250609" cy="575738"/>
            </a:xfrm>
            <a:prstGeom prst="rect">
              <a:avLst/>
            </a:prstGeom>
            <a:noFill/>
          </p:spPr>
          <p:txBody>
            <a:bodyPr wrap="none" lIns="91440" tIns="45720" rIns="91440" bIns="45720">
              <a:spAutoFit/>
              <a:scene3d>
                <a:camera prst="isometricTopUp"/>
                <a:lightRig rig="threePt" dir="t"/>
              </a:scene3d>
            </a:bodyPr>
            <a:lstStyle/>
            <a:p>
              <a:pPr algn="ctr"/>
              <a:r>
                <a:rPr lang="es-ES" sz="1050" dirty="0">
                  <a:ln w="0"/>
                  <a:solidFill>
                    <a:srgbClr val="2B0A3D"/>
                  </a:solidFill>
                  <a:latin typeface="Ubuntu Mono" panose="020B0509030602030204" pitchFamily="49" charset="0"/>
                </a:rPr>
                <a:t>SERVICE CARD</a:t>
              </a:r>
            </a:p>
          </p:txBody>
        </p:sp>
        <p:sp>
          <p:nvSpPr>
            <p:cNvPr id="10" name="Rectángulo 9">
              <a:extLst>
                <a:ext uri="{FF2B5EF4-FFF2-40B4-BE49-F238E27FC236}">
                  <a16:creationId xmlns:a16="http://schemas.microsoft.com/office/drawing/2014/main" id="{28CC9414-BA70-4022-B8FB-7F20E767E217}"/>
                </a:ext>
              </a:extLst>
            </p:cNvPr>
            <p:cNvSpPr/>
            <p:nvPr/>
          </p:nvSpPr>
          <p:spPr>
            <a:xfrm>
              <a:off x="7240788" y="3191612"/>
              <a:ext cx="2928278" cy="488506"/>
            </a:xfrm>
            <a:prstGeom prst="rect">
              <a:avLst/>
            </a:prstGeom>
            <a:noFill/>
          </p:spPr>
          <p:txBody>
            <a:bodyPr wrap="square" lIns="91440" tIns="45720" rIns="91440" bIns="45720">
              <a:spAutoFit/>
              <a:scene3d>
                <a:camera prst="isometricTopUp"/>
                <a:lightRig rig="threePt" dir="t"/>
              </a:scene3d>
            </a:bodyPr>
            <a:lstStyle/>
            <a:p>
              <a:pPr algn="ctr"/>
              <a:r>
                <a:rPr lang="es-ES" sz="800" dirty="0">
                  <a:ln w="0"/>
                  <a:solidFill>
                    <a:srgbClr val="2B0A3D"/>
                  </a:solidFill>
                  <a:latin typeface="Ubuntu" panose="020B0504030602030204" pitchFamily="34" charset="0"/>
                </a:rPr>
                <a:t>SOGETI SPAIN</a:t>
              </a:r>
            </a:p>
          </p:txBody>
        </p:sp>
      </p:grpSp>
      <p:sp>
        <p:nvSpPr>
          <p:cNvPr id="11" name="CuadroTexto 10">
            <a:extLst>
              <a:ext uri="{FF2B5EF4-FFF2-40B4-BE49-F238E27FC236}">
                <a16:creationId xmlns:a16="http://schemas.microsoft.com/office/drawing/2014/main" id="{4ECD243A-7E1C-4490-8EA8-D0BD6188A55D}"/>
              </a:ext>
            </a:extLst>
          </p:cNvPr>
          <p:cNvSpPr txBox="1"/>
          <p:nvPr userDrawn="1"/>
        </p:nvSpPr>
        <p:spPr>
          <a:xfrm>
            <a:off x="566959" y="257537"/>
            <a:ext cx="2288535" cy="261610"/>
          </a:xfrm>
          <a:prstGeom prst="rect">
            <a:avLst/>
          </a:prstGeom>
          <a:noFill/>
        </p:spPr>
        <p:txBody>
          <a:bodyPr wrap="square">
            <a:spAutoFit/>
          </a:bodyPr>
          <a:lstStyle/>
          <a:p>
            <a:r>
              <a:rPr lang="es-ES" sz="1100" dirty="0">
                <a:solidFill>
                  <a:schemeClr val="accent4"/>
                </a:solidFill>
                <a:latin typeface="Ubuntu" panose="020B0504030602030204" pitchFamily="34" charset="0"/>
              </a:rPr>
              <a:t>#</a:t>
            </a:r>
            <a:r>
              <a:rPr lang="es-ES" sz="1100" dirty="0">
                <a:solidFill>
                  <a:schemeClr val="accent2"/>
                </a:solidFill>
                <a:latin typeface="Ubuntu" panose="020B0504030602030204" pitchFamily="34" charset="0"/>
              </a:rPr>
              <a:t>AccelerateWithSogeti</a:t>
            </a:r>
          </a:p>
        </p:txBody>
      </p:sp>
      <p:pic>
        <p:nvPicPr>
          <p:cNvPr id="13" name="Imagen 12" descr="Imagen en blanco y negro&#10;&#10;Descripción generada automáticamente con confianza media">
            <a:extLst>
              <a:ext uri="{FF2B5EF4-FFF2-40B4-BE49-F238E27FC236}">
                <a16:creationId xmlns:a16="http://schemas.microsoft.com/office/drawing/2014/main" id="{65D9ED12-FA7E-4775-AC96-089DCB369DF4}"/>
              </a:ext>
            </a:extLst>
          </p:cNvPr>
          <p:cNvPicPr>
            <a:picLocks noChangeAspect="1"/>
          </p:cNvPicPr>
          <p:nvPr userDrawn="1"/>
        </p:nvPicPr>
        <p:blipFill>
          <a:blip r:embed="rId5"/>
          <a:stretch>
            <a:fillRect/>
          </a:stretch>
        </p:blipFill>
        <p:spPr>
          <a:xfrm>
            <a:off x="0" y="388342"/>
            <a:ext cx="473242" cy="476391"/>
          </a:xfrm>
          <a:prstGeom prst="rect">
            <a:avLst/>
          </a:prstGeom>
        </p:spPr>
      </p:pic>
      <p:pic>
        <p:nvPicPr>
          <p:cNvPr id="2" name="Picture 2">
            <a:extLst>
              <a:ext uri="{FF2B5EF4-FFF2-40B4-BE49-F238E27FC236}">
                <a16:creationId xmlns:a16="http://schemas.microsoft.com/office/drawing/2014/main" id="{E373F80E-5A34-47E9-B31D-40B350DE3D95}"/>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1413976" y="5903071"/>
            <a:ext cx="566738" cy="5667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4476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 content - white bac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199C2-CE1A-4360-A4AE-0962475BE0F1}"/>
              </a:ext>
            </a:extLst>
          </p:cNvPr>
          <p:cNvSpPr>
            <a:spLocks noGrp="1"/>
          </p:cNvSpPr>
          <p:nvPr>
            <p:ph type="title"/>
          </p:nvPr>
        </p:nvSpPr>
        <p:spPr>
          <a:xfrm>
            <a:off x="407988" y="252000"/>
            <a:ext cx="11403012" cy="900000"/>
          </a:xfrm>
        </p:spPr>
        <p:txBody>
          <a:bodyPr vert="horz" lIns="0" tIns="0" rIns="0" bIns="0" rtlCol="0" anchor="ctr" anchorCtr="0">
            <a:noAutofit/>
          </a:bodyPr>
          <a:lstStyle>
            <a:lvl1pPr>
              <a:lnSpc>
                <a:spcPct val="88000"/>
              </a:lnSpc>
              <a:defRPr lang="en-US" baseline="0" dirty="0"/>
            </a:lvl1pPr>
          </a:lstStyle>
          <a:p>
            <a:pPr lvl="0"/>
            <a:r>
              <a:rPr lang="en-US"/>
              <a:t>Click to edit Master title style</a:t>
            </a:r>
          </a:p>
        </p:txBody>
      </p:sp>
      <p:sp>
        <p:nvSpPr>
          <p:cNvPr id="4" name="Text Placeholder 3">
            <a:extLst>
              <a:ext uri="{FF2B5EF4-FFF2-40B4-BE49-F238E27FC236}">
                <a16:creationId xmlns:a16="http://schemas.microsoft.com/office/drawing/2014/main" id="{3D43CD70-0B97-488B-A9E4-844B756A36CC}"/>
              </a:ext>
            </a:extLst>
          </p:cNvPr>
          <p:cNvSpPr>
            <a:spLocks noGrp="1"/>
          </p:cNvSpPr>
          <p:nvPr>
            <p:ph type="body" sz="quarter" idx="10"/>
          </p:nvPr>
        </p:nvSpPr>
        <p:spPr>
          <a:xfrm>
            <a:off x="407988" y="1371600"/>
            <a:ext cx="11403012" cy="4876800"/>
          </a:xfrm>
        </p:spPr>
        <p:txBody>
          <a:bodyPr tIns="36000">
            <a:noAutofit/>
          </a:bodyPr>
          <a:lstStyle>
            <a:lvl1pPr>
              <a:defRPr spc="-20" baseline="0"/>
            </a:lvl1pPr>
            <a:lvl2pPr>
              <a:defRPr spc="-20" baseline="0"/>
            </a:lvl2pPr>
            <a:lvl3pPr>
              <a:defRPr spc="-20" baseline="0"/>
            </a:lvl3pPr>
            <a:lvl4pPr>
              <a:defRPr spc="-20" baseline="0"/>
            </a:lvl4pPr>
            <a:lvl5pPr marL="1076325" indent="-228600">
              <a:defRPr spc="-2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34822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 content - grey back">
    <p:bg>
      <p:bgPr>
        <a:solidFill>
          <a:srgbClr val="F5F5F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199C2-CE1A-4360-A4AE-0962475BE0F1}"/>
              </a:ext>
            </a:extLst>
          </p:cNvPr>
          <p:cNvSpPr>
            <a:spLocks noGrp="1"/>
          </p:cNvSpPr>
          <p:nvPr>
            <p:ph type="title"/>
          </p:nvPr>
        </p:nvSpPr>
        <p:spPr>
          <a:xfrm>
            <a:off x="407988" y="252000"/>
            <a:ext cx="11403012" cy="900000"/>
          </a:xfrm>
        </p:spPr>
        <p:txBody>
          <a:bodyPr vert="horz" lIns="0" tIns="0" rIns="0" bIns="0" rtlCol="0" anchor="ctr" anchorCtr="0">
            <a:noAutofit/>
          </a:bodyPr>
          <a:lstStyle>
            <a:lvl1pPr>
              <a:lnSpc>
                <a:spcPct val="88000"/>
              </a:lnSpc>
              <a:defRPr lang="en-US" baseline="0" dirty="0"/>
            </a:lvl1pPr>
          </a:lstStyle>
          <a:p>
            <a:pPr lvl="0"/>
            <a:r>
              <a:rPr lang="en-US"/>
              <a:t>Click to edit Master title style</a:t>
            </a:r>
          </a:p>
        </p:txBody>
      </p:sp>
      <p:sp>
        <p:nvSpPr>
          <p:cNvPr id="4" name="Text Placeholder 3">
            <a:extLst>
              <a:ext uri="{FF2B5EF4-FFF2-40B4-BE49-F238E27FC236}">
                <a16:creationId xmlns:a16="http://schemas.microsoft.com/office/drawing/2014/main" id="{3D43CD70-0B97-488B-A9E4-844B756A36CC}"/>
              </a:ext>
            </a:extLst>
          </p:cNvPr>
          <p:cNvSpPr>
            <a:spLocks noGrp="1"/>
          </p:cNvSpPr>
          <p:nvPr>
            <p:ph type="body" sz="quarter" idx="10"/>
          </p:nvPr>
        </p:nvSpPr>
        <p:spPr>
          <a:xfrm>
            <a:off x="407988" y="1368781"/>
            <a:ext cx="11403012" cy="4876800"/>
          </a:xfrm>
        </p:spPr>
        <p:txBody>
          <a:bodyPr tIns="36000">
            <a:noAutofit/>
          </a:bodyPr>
          <a:lstStyle>
            <a:lvl1pPr>
              <a:defRPr spc="-20" baseline="0"/>
            </a:lvl1pPr>
            <a:lvl2pPr>
              <a:defRPr spc="-20" baseline="0"/>
            </a:lvl2pPr>
            <a:lvl3pPr>
              <a:defRPr spc="-20" baseline="0"/>
            </a:lvl3pPr>
            <a:lvl4pPr>
              <a:defRPr spc="-20" baseline="0"/>
            </a:lvl4pPr>
            <a:lvl5pPr marL="1076325" indent="-228600">
              <a:defRPr spc="-2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509445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 content - grey data back 1">
    <p:bg>
      <p:bgPr>
        <a:solidFill>
          <a:srgbClr val="EEEEEE"/>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F20F716-56AF-4AAC-B8DC-A48AD0E93568}"/>
              </a:ext>
            </a:extLst>
          </p:cNvPr>
          <p:cNvSpPr/>
          <p:nvPr userDrawn="1"/>
        </p:nvSpPr>
        <p:spPr>
          <a:xfrm>
            <a:off x="7580501" y="3326594"/>
            <a:ext cx="4592349" cy="3531406"/>
          </a:xfrm>
          <a:prstGeom prst="rect">
            <a:avLst/>
          </a:prstGeom>
          <a:blipFill dpi="0" rotWithShape="1">
            <a:blip r:embed="rId2"/>
            <a:srcRect/>
            <a:stretch>
              <a:fillRect l="-8354" r="-3390" b="-1116"/>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endParaRPr>
          </a:p>
        </p:txBody>
      </p:sp>
      <p:sp>
        <p:nvSpPr>
          <p:cNvPr id="6" name="Rectangle 5">
            <a:extLst>
              <a:ext uri="{FF2B5EF4-FFF2-40B4-BE49-F238E27FC236}">
                <a16:creationId xmlns:a16="http://schemas.microsoft.com/office/drawing/2014/main" id="{FBEFC067-FCC2-4331-A74B-B67A44D7528E}"/>
              </a:ext>
            </a:extLst>
          </p:cNvPr>
          <p:cNvSpPr/>
          <p:nvPr userDrawn="1"/>
        </p:nvSpPr>
        <p:spPr>
          <a:xfrm rot="10800000">
            <a:off x="-1" y="1305"/>
            <a:ext cx="4592349" cy="3570802"/>
          </a:xfrm>
          <a:prstGeom prst="rect">
            <a:avLst/>
          </a:prstGeom>
          <a:blipFill dpi="0" rotWithShape="1">
            <a:blip r:embed="rId2"/>
            <a:srcRect/>
            <a:stretch>
              <a:fillRect l="6854" t="12804" r="-18599" b="-1280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endParaRPr>
          </a:p>
        </p:txBody>
      </p:sp>
      <p:sp>
        <p:nvSpPr>
          <p:cNvPr id="4" name="Text Placeholder 3">
            <a:extLst>
              <a:ext uri="{FF2B5EF4-FFF2-40B4-BE49-F238E27FC236}">
                <a16:creationId xmlns:a16="http://schemas.microsoft.com/office/drawing/2014/main" id="{3D43CD70-0B97-488B-A9E4-844B756A36CC}"/>
              </a:ext>
            </a:extLst>
          </p:cNvPr>
          <p:cNvSpPr>
            <a:spLocks noGrp="1"/>
          </p:cNvSpPr>
          <p:nvPr>
            <p:ph type="body" sz="quarter" idx="10"/>
          </p:nvPr>
        </p:nvSpPr>
        <p:spPr>
          <a:xfrm>
            <a:off x="407988" y="1368781"/>
            <a:ext cx="11403012" cy="4876800"/>
          </a:xfrm>
        </p:spPr>
        <p:txBody>
          <a:bodyPr tIns="36000">
            <a:noAutofit/>
          </a:bodyPr>
          <a:lstStyle>
            <a:lvl1pPr>
              <a:defRPr spc="-20" baseline="0"/>
            </a:lvl1pPr>
            <a:lvl2pPr>
              <a:defRPr spc="-20" baseline="0"/>
            </a:lvl2pPr>
            <a:lvl3pPr>
              <a:defRPr spc="-20" baseline="0"/>
            </a:lvl3pPr>
            <a:lvl4pPr>
              <a:defRPr spc="-20" baseline="0"/>
            </a:lvl4pPr>
            <a:lvl5pPr marL="1076325" indent="-228600">
              <a:defRPr spc="-2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iamond 6">
            <a:extLst>
              <a:ext uri="{FF2B5EF4-FFF2-40B4-BE49-F238E27FC236}">
                <a16:creationId xmlns:a16="http://schemas.microsoft.com/office/drawing/2014/main" id="{13B292E7-9509-4B12-AEDD-A65CC948ED36}"/>
              </a:ext>
            </a:extLst>
          </p:cNvPr>
          <p:cNvSpPr/>
          <p:nvPr userDrawn="1"/>
        </p:nvSpPr>
        <p:spPr>
          <a:xfrm>
            <a:off x="11481532" y="3807181"/>
            <a:ext cx="242371" cy="132202"/>
          </a:xfrm>
          <a:prstGeom prst="diamond">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8" name="Diamond 7">
            <a:extLst>
              <a:ext uri="{FF2B5EF4-FFF2-40B4-BE49-F238E27FC236}">
                <a16:creationId xmlns:a16="http://schemas.microsoft.com/office/drawing/2014/main" id="{1A495E24-8AA0-4596-837B-B61F4A55FA3D}"/>
              </a:ext>
            </a:extLst>
          </p:cNvPr>
          <p:cNvSpPr/>
          <p:nvPr userDrawn="1"/>
        </p:nvSpPr>
        <p:spPr>
          <a:xfrm>
            <a:off x="10384554" y="5897022"/>
            <a:ext cx="242371" cy="132202"/>
          </a:xfrm>
          <a:prstGeom prst="diamond">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9" name="Diamond 8">
            <a:extLst>
              <a:ext uri="{FF2B5EF4-FFF2-40B4-BE49-F238E27FC236}">
                <a16:creationId xmlns:a16="http://schemas.microsoft.com/office/drawing/2014/main" id="{A0456913-1C4B-4355-9BB9-0C89D0F20E0D}"/>
              </a:ext>
            </a:extLst>
          </p:cNvPr>
          <p:cNvSpPr/>
          <p:nvPr userDrawn="1"/>
        </p:nvSpPr>
        <p:spPr>
          <a:xfrm>
            <a:off x="9560034" y="5026196"/>
            <a:ext cx="242371" cy="132202"/>
          </a:xfrm>
          <a:prstGeom prst="diamond">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10" name="Diamond 9">
            <a:extLst>
              <a:ext uri="{FF2B5EF4-FFF2-40B4-BE49-F238E27FC236}">
                <a16:creationId xmlns:a16="http://schemas.microsoft.com/office/drawing/2014/main" id="{7C5B63C2-856C-4A5F-8EDC-24039C050CF6}"/>
              </a:ext>
            </a:extLst>
          </p:cNvPr>
          <p:cNvSpPr/>
          <p:nvPr userDrawn="1"/>
        </p:nvSpPr>
        <p:spPr>
          <a:xfrm>
            <a:off x="2388181" y="261053"/>
            <a:ext cx="242371" cy="132202"/>
          </a:xfrm>
          <a:prstGeom prst="diamond">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2" name="Title 1">
            <a:extLst>
              <a:ext uri="{FF2B5EF4-FFF2-40B4-BE49-F238E27FC236}">
                <a16:creationId xmlns:a16="http://schemas.microsoft.com/office/drawing/2014/main" id="{A42199C2-CE1A-4360-A4AE-0962475BE0F1}"/>
              </a:ext>
            </a:extLst>
          </p:cNvPr>
          <p:cNvSpPr>
            <a:spLocks noGrp="1"/>
          </p:cNvSpPr>
          <p:nvPr>
            <p:ph type="title"/>
          </p:nvPr>
        </p:nvSpPr>
        <p:spPr>
          <a:xfrm>
            <a:off x="407988" y="252000"/>
            <a:ext cx="11403012" cy="900000"/>
          </a:xfrm>
        </p:spPr>
        <p:txBody>
          <a:bodyPr vert="horz" lIns="0" tIns="0" rIns="0" bIns="0" rtlCol="0" anchor="ctr" anchorCtr="0">
            <a:noAutofit/>
          </a:bodyPr>
          <a:lstStyle>
            <a:lvl1pPr>
              <a:lnSpc>
                <a:spcPct val="88000"/>
              </a:lnSpc>
              <a:defRPr lang="en-US" baseline="0" dirty="0"/>
            </a:lvl1pPr>
          </a:lstStyle>
          <a:p>
            <a:pPr lvl="0"/>
            <a:r>
              <a:rPr lang="en-US"/>
              <a:t>Click to edit Master title style</a:t>
            </a:r>
          </a:p>
        </p:txBody>
      </p:sp>
    </p:spTree>
    <p:extLst>
      <p:ext uri="{BB962C8B-B14F-4D97-AF65-F5344CB8AC3E}">
        <p14:creationId xmlns:p14="http://schemas.microsoft.com/office/powerpoint/2010/main" val="41453550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ccel="47000" decel="53000" autoRev="1" fill="hold" grpId="0" nodeType="withEffect">
                                  <p:stCondLst>
                                    <p:cond delay="2900"/>
                                  </p:stCondLst>
                                  <p:childTnLst>
                                    <p:animScale>
                                      <p:cBhvr>
                                        <p:cTn id="6" dur="1500" fill="hold"/>
                                        <p:tgtEl>
                                          <p:spTgt spid="7"/>
                                        </p:tgtEl>
                                      </p:cBhvr>
                                      <p:by x="150000" y="150000"/>
                                    </p:animScale>
                                  </p:childTnLst>
                                </p:cTn>
                              </p:par>
                              <p:par>
                                <p:cTn id="7" presetID="6" presetClass="emph" presetSubtype="0" repeatCount="indefinite" accel="47000" decel="53000" autoRev="1" fill="hold" grpId="0" nodeType="withEffect">
                                  <p:stCondLst>
                                    <p:cond delay="1000"/>
                                  </p:stCondLst>
                                  <p:childTnLst>
                                    <p:animScale>
                                      <p:cBhvr>
                                        <p:cTn id="8" dur="1100" fill="hold"/>
                                        <p:tgtEl>
                                          <p:spTgt spid="8"/>
                                        </p:tgtEl>
                                      </p:cBhvr>
                                      <p:by x="150000" y="150000"/>
                                    </p:animScale>
                                  </p:childTnLst>
                                </p:cTn>
                              </p:par>
                              <p:par>
                                <p:cTn id="9" presetID="6" presetClass="emph" presetSubtype="0" repeatCount="indefinite" accel="47000" decel="53000" autoRev="1" fill="hold" grpId="0" nodeType="withEffect">
                                  <p:stCondLst>
                                    <p:cond delay="0"/>
                                  </p:stCondLst>
                                  <p:childTnLst>
                                    <p:animScale>
                                      <p:cBhvr>
                                        <p:cTn id="10" dur="1450" fill="hold"/>
                                        <p:tgtEl>
                                          <p:spTgt spid="9"/>
                                        </p:tgtEl>
                                      </p:cBhvr>
                                      <p:by x="150000" y="150000"/>
                                    </p:animScale>
                                  </p:childTnLst>
                                </p:cTn>
                              </p:par>
                              <p:par>
                                <p:cTn id="11" presetID="6" presetClass="emph" presetSubtype="0" repeatCount="indefinite" accel="47000" decel="53000" autoRev="1" fill="hold" grpId="0" nodeType="withEffect">
                                  <p:stCondLst>
                                    <p:cond delay="1800"/>
                                  </p:stCondLst>
                                  <p:childTnLst>
                                    <p:animScale>
                                      <p:cBhvr>
                                        <p:cTn id="12" dur="1800" fill="hold"/>
                                        <p:tgtEl>
                                          <p:spTgt spid="10"/>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 content - grey data back 2">
    <p:bg>
      <p:bgPr>
        <a:solidFill>
          <a:srgbClr val="EEEEEE"/>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F20F716-56AF-4AAC-B8DC-A48AD0E93568}"/>
              </a:ext>
            </a:extLst>
          </p:cNvPr>
          <p:cNvSpPr/>
          <p:nvPr userDrawn="1"/>
        </p:nvSpPr>
        <p:spPr>
          <a:xfrm flipV="1">
            <a:off x="7580501" y="0"/>
            <a:ext cx="4592349" cy="3531406"/>
          </a:xfrm>
          <a:prstGeom prst="rect">
            <a:avLst/>
          </a:prstGeom>
          <a:blipFill dpi="0" rotWithShape="1">
            <a:blip r:embed="rId2"/>
            <a:srcRect/>
            <a:stretch>
              <a:fillRect l="-8354" r="-3390" b="-1116"/>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endParaRPr>
          </a:p>
        </p:txBody>
      </p:sp>
      <p:sp>
        <p:nvSpPr>
          <p:cNvPr id="6" name="Rectangle 5">
            <a:extLst>
              <a:ext uri="{FF2B5EF4-FFF2-40B4-BE49-F238E27FC236}">
                <a16:creationId xmlns:a16="http://schemas.microsoft.com/office/drawing/2014/main" id="{FBEFC067-FCC2-4331-A74B-B67A44D7528E}"/>
              </a:ext>
            </a:extLst>
          </p:cNvPr>
          <p:cNvSpPr/>
          <p:nvPr userDrawn="1"/>
        </p:nvSpPr>
        <p:spPr>
          <a:xfrm rot="10800000" flipV="1">
            <a:off x="-1" y="3287198"/>
            <a:ext cx="4592349" cy="3570802"/>
          </a:xfrm>
          <a:prstGeom prst="rect">
            <a:avLst/>
          </a:prstGeom>
          <a:blipFill dpi="0" rotWithShape="1">
            <a:blip r:embed="rId2"/>
            <a:srcRect/>
            <a:stretch>
              <a:fillRect l="6854" t="12804" r="-18599" b="-1280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endParaRPr>
          </a:p>
        </p:txBody>
      </p:sp>
      <p:sp>
        <p:nvSpPr>
          <p:cNvPr id="2" name="Title 1">
            <a:extLst>
              <a:ext uri="{FF2B5EF4-FFF2-40B4-BE49-F238E27FC236}">
                <a16:creationId xmlns:a16="http://schemas.microsoft.com/office/drawing/2014/main" id="{A42199C2-CE1A-4360-A4AE-0962475BE0F1}"/>
              </a:ext>
            </a:extLst>
          </p:cNvPr>
          <p:cNvSpPr>
            <a:spLocks noGrp="1"/>
          </p:cNvSpPr>
          <p:nvPr>
            <p:ph type="title"/>
          </p:nvPr>
        </p:nvSpPr>
        <p:spPr>
          <a:xfrm>
            <a:off x="407988" y="252000"/>
            <a:ext cx="11403012" cy="900000"/>
          </a:xfrm>
        </p:spPr>
        <p:txBody>
          <a:bodyPr vert="horz" lIns="0" tIns="0" rIns="0" bIns="0" rtlCol="0" anchor="ctr" anchorCtr="0">
            <a:noAutofit/>
          </a:bodyPr>
          <a:lstStyle>
            <a:lvl1pPr>
              <a:lnSpc>
                <a:spcPct val="88000"/>
              </a:lnSpc>
              <a:defRPr lang="en-US" baseline="0" dirty="0"/>
            </a:lvl1pPr>
          </a:lstStyle>
          <a:p>
            <a:pPr lvl="0"/>
            <a:r>
              <a:rPr lang="en-US"/>
              <a:t>Click to edit Master title style</a:t>
            </a:r>
          </a:p>
        </p:txBody>
      </p:sp>
      <p:sp>
        <p:nvSpPr>
          <p:cNvPr id="4" name="Text Placeholder 3">
            <a:extLst>
              <a:ext uri="{FF2B5EF4-FFF2-40B4-BE49-F238E27FC236}">
                <a16:creationId xmlns:a16="http://schemas.microsoft.com/office/drawing/2014/main" id="{3D43CD70-0B97-488B-A9E4-844B756A36CC}"/>
              </a:ext>
            </a:extLst>
          </p:cNvPr>
          <p:cNvSpPr>
            <a:spLocks noGrp="1"/>
          </p:cNvSpPr>
          <p:nvPr>
            <p:ph type="body" sz="quarter" idx="10"/>
          </p:nvPr>
        </p:nvSpPr>
        <p:spPr>
          <a:xfrm>
            <a:off x="407988" y="1368781"/>
            <a:ext cx="11403012" cy="4876800"/>
          </a:xfrm>
        </p:spPr>
        <p:txBody>
          <a:bodyPr tIns="36000">
            <a:noAutofit/>
          </a:bodyPr>
          <a:lstStyle>
            <a:lvl1pPr>
              <a:defRPr spc="-20" baseline="0"/>
            </a:lvl1pPr>
            <a:lvl2pPr>
              <a:defRPr spc="-20" baseline="0"/>
            </a:lvl2pPr>
            <a:lvl3pPr>
              <a:defRPr spc="-20" baseline="0"/>
            </a:lvl3pPr>
            <a:lvl4pPr>
              <a:defRPr spc="-20" baseline="0"/>
            </a:lvl4pPr>
            <a:lvl5pPr marL="1076325" indent="-228600">
              <a:defRPr spc="-2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lowchart: Decision 2">
            <a:extLst>
              <a:ext uri="{FF2B5EF4-FFF2-40B4-BE49-F238E27FC236}">
                <a16:creationId xmlns:a16="http://schemas.microsoft.com/office/drawing/2014/main" id="{9A8F7E11-5B0A-4AF4-AB98-FF1A200CAFBE}"/>
              </a:ext>
            </a:extLst>
          </p:cNvPr>
          <p:cNvSpPr/>
          <p:nvPr userDrawn="1"/>
        </p:nvSpPr>
        <p:spPr>
          <a:xfrm>
            <a:off x="-733456" y="2572130"/>
            <a:ext cx="1466907" cy="845513"/>
          </a:xfrm>
          <a:prstGeom prst="flowChartDecision">
            <a:avLst/>
          </a:prstGeom>
          <a:solidFill>
            <a:srgbClr val="FFFFFF">
              <a:alpha val="2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7" name="Flowchart: Decision 6">
            <a:extLst>
              <a:ext uri="{FF2B5EF4-FFF2-40B4-BE49-F238E27FC236}">
                <a16:creationId xmlns:a16="http://schemas.microsoft.com/office/drawing/2014/main" id="{ADF7B211-E921-4D40-A122-2A8884620A18}"/>
              </a:ext>
            </a:extLst>
          </p:cNvPr>
          <p:cNvSpPr/>
          <p:nvPr userDrawn="1"/>
        </p:nvSpPr>
        <p:spPr>
          <a:xfrm>
            <a:off x="9755171" y="-574889"/>
            <a:ext cx="2915253" cy="1680327"/>
          </a:xfrm>
          <a:prstGeom prst="flowChartDecision">
            <a:avLst/>
          </a:prstGeom>
          <a:solidFill>
            <a:srgbClr val="FFFFFF">
              <a:alpha val="2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8" name="Flowchart: Decision 7">
            <a:extLst>
              <a:ext uri="{FF2B5EF4-FFF2-40B4-BE49-F238E27FC236}">
                <a16:creationId xmlns:a16="http://schemas.microsoft.com/office/drawing/2014/main" id="{FFC09DC6-3692-45C8-BFDA-A0B0D39BED46}"/>
              </a:ext>
            </a:extLst>
          </p:cNvPr>
          <p:cNvSpPr/>
          <p:nvPr userDrawn="1"/>
        </p:nvSpPr>
        <p:spPr>
          <a:xfrm>
            <a:off x="10031237" y="2114422"/>
            <a:ext cx="2915253" cy="1680327"/>
          </a:xfrm>
          <a:prstGeom prst="flowChartDecision">
            <a:avLst/>
          </a:prstGeom>
          <a:solidFill>
            <a:srgbClr val="FFFFFF">
              <a:alpha val="2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9" name="Flowchart: Decision 8">
            <a:extLst>
              <a:ext uri="{FF2B5EF4-FFF2-40B4-BE49-F238E27FC236}">
                <a16:creationId xmlns:a16="http://schemas.microsoft.com/office/drawing/2014/main" id="{3B7D3554-CF39-47FD-B6D3-3C7E7E454012}"/>
              </a:ext>
            </a:extLst>
          </p:cNvPr>
          <p:cNvSpPr/>
          <p:nvPr userDrawn="1"/>
        </p:nvSpPr>
        <p:spPr>
          <a:xfrm>
            <a:off x="7472218" y="-235009"/>
            <a:ext cx="2065169" cy="1190346"/>
          </a:xfrm>
          <a:prstGeom prst="flowChartDecision">
            <a:avLst/>
          </a:prstGeom>
          <a:solidFill>
            <a:srgbClr val="FFFFFF">
              <a:alpha val="2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10" name="Flowchart: Decision 9">
            <a:extLst>
              <a:ext uri="{FF2B5EF4-FFF2-40B4-BE49-F238E27FC236}">
                <a16:creationId xmlns:a16="http://schemas.microsoft.com/office/drawing/2014/main" id="{F5E4D09A-C5DE-41D9-B75A-2ED508FEA981}"/>
              </a:ext>
            </a:extLst>
          </p:cNvPr>
          <p:cNvSpPr/>
          <p:nvPr userDrawn="1"/>
        </p:nvSpPr>
        <p:spPr>
          <a:xfrm>
            <a:off x="1637734" y="5656647"/>
            <a:ext cx="2915253" cy="1680327"/>
          </a:xfrm>
          <a:prstGeom prst="flowChartDecision">
            <a:avLst/>
          </a:prstGeom>
          <a:solidFill>
            <a:srgbClr val="FFFFFF">
              <a:alpha val="2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11" name="Flowchart: Decision 10">
            <a:extLst>
              <a:ext uri="{FF2B5EF4-FFF2-40B4-BE49-F238E27FC236}">
                <a16:creationId xmlns:a16="http://schemas.microsoft.com/office/drawing/2014/main" id="{74145F29-E818-46E0-8500-83FB240D425C}"/>
              </a:ext>
            </a:extLst>
          </p:cNvPr>
          <p:cNvSpPr/>
          <p:nvPr userDrawn="1"/>
        </p:nvSpPr>
        <p:spPr>
          <a:xfrm>
            <a:off x="1999584" y="4565254"/>
            <a:ext cx="2915253" cy="1680327"/>
          </a:xfrm>
          <a:prstGeom prst="flowChartDecision">
            <a:avLst/>
          </a:prstGeom>
          <a:solidFill>
            <a:srgbClr val="FFFFFF">
              <a:alpha val="2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12" name="Flowchart: Decision 11">
            <a:extLst>
              <a:ext uri="{FF2B5EF4-FFF2-40B4-BE49-F238E27FC236}">
                <a16:creationId xmlns:a16="http://schemas.microsoft.com/office/drawing/2014/main" id="{0F1985A4-DEA8-4504-8ECB-5B7AC4823704}"/>
              </a:ext>
            </a:extLst>
          </p:cNvPr>
          <p:cNvSpPr/>
          <p:nvPr userDrawn="1"/>
        </p:nvSpPr>
        <p:spPr>
          <a:xfrm>
            <a:off x="-1926662" y="3473861"/>
            <a:ext cx="5401756" cy="3113526"/>
          </a:xfrm>
          <a:prstGeom prst="flowChartDecision">
            <a:avLst/>
          </a:prstGeom>
          <a:solidFill>
            <a:srgbClr val="FFFFFF">
              <a:alpha val="2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13" name="Flowchart: Decision 12">
            <a:extLst>
              <a:ext uri="{FF2B5EF4-FFF2-40B4-BE49-F238E27FC236}">
                <a16:creationId xmlns:a16="http://schemas.microsoft.com/office/drawing/2014/main" id="{D0D7AA70-1B84-461F-BF30-D143A12CC457}"/>
              </a:ext>
            </a:extLst>
          </p:cNvPr>
          <p:cNvSpPr/>
          <p:nvPr userDrawn="1"/>
        </p:nvSpPr>
        <p:spPr>
          <a:xfrm>
            <a:off x="9148959" y="252000"/>
            <a:ext cx="5401756" cy="3113526"/>
          </a:xfrm>
          <a:prstGeom prst="flowChartDecision">
            <a:avLst/>
          </a:prstGeom>
          <a:solidFill>
            <a:srgbClr val="FFFFFF">
              <a:alpha val="2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14" name="Flowchart: Decision 13">
            <a:extLst>
              <a:ext uri="{FF2B5EF4-FFF2-40B4-BE49-F238E27FC236}">
                <a16:creationId xmlns:a16="http://schemas.microsoft.com/office/drawing/2014/main" id="{7A1F1097-D12B-4774-B7AC-493A0E1661FD}"/>
              </a:ext>
            </a:extLst>
          </p:cNvPr>
          <p:cNvSpPr/>
          <p:nvPr userDrawn="1"/>
        </p:nvSpPr>
        <p:spPr>
          <a:xfrm>
            <a:off x="10599562" y="5241439"/>
            <a:ext cx="1466907" cy="845513"/>
          </a:xfrm>
          <a:prstGeom prst="flowChartDecision">
            <a:avLst/>
          </a:prstGeom>
          <a:solidFill>
            <a:srgbClr val="FFFFFF">
              <a:alpha val="2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Tree>
    <p:extLst>
      <p:ext uri="{BB962C8B-B14F-4D97-AF65-F5344CB8AC3E}">
        <p14:creationId xmlns:p14="http://schemas.microsoft.com/office/powerpoint/2010/main" val="32732683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 content - grey data back 3">
    <p:bg>
      <p:bgPr>
        <a:solidFill>
          <a:srgbClr val="EEEEEE"/>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199C2-CE1A-4360-A4AE-0962475BE0F1}"/>
              </a:ext>
            </a:extLst>
          </p:cNvPr>
          <p:cNvSpPr>
            <a:spLocks noGrp="1"/>
          </p:cNvSpPr>
          <p:nvPr>
            <p:ph type="title"/>
          </p:nvPr>
        </p:nvSpPr>
        <p:spPr>
          <a:xfrm>
            <a:off x="407988" y="252000"/>
            <a:ext cx="11403012" cy="900000"/>
          </a:xfrm>
        </p:spPr>
        <p:txBody>
          <a:bodyPr vert="horz" lIns="0" tIns="0" rIns="0" bIns="0" rtlCol="0" anchor="ctr" anchorCtr="0">
            <a:noAutofit/>
          </a:bodyPr>
          <a:lstStyle>
            <a:lvl1pPr>
              <a:lnSpc>
                <a:spcPct val="88000"/>
              </a:lnSpc>
              <a:defRPr lang="en-US" baseline="0" dirty="0"/>
            </a:lvl1pPr>
          </a:lstStyle>
          <a:p>
            <a:pPr lvl="0"/>
            <a:r>
              <a:rPr lang="en-US"/>
              <a:t>Click to edit Master title style</a:t>
            </a:r>
          </a:p>
        </p:txBody>
      </p:sp>
      <p:sp>
        <p:nvSpPr>
          <p:cNvPr id="4" name="Text Placeholder 3">
            <a:extLst>
              <a:ext uri="{FF2B5EF4-FFF2-40B4-BE49-F238E27FC236}">
                <a16:creationId xmlns:a16="http://schemas.microsoft.com/office/drawing/2014/main" id="{3D43CD70-0B97-488B-A9E4-844B756A36CC}"/>
              </a:ext>
            </a:extLst>
          </p:cNvPr>
          <p:cNvSpPr>
            <a:spLocks noGrp="1"/>
          </p:cNvSpPr>
          <p:nvPr>
            <p:ph type="body" sz="quarter" idx="10"/>
          </p:nvPr>
        </p:nvSpPr>
        <p:spPr>
          <a:xfrm>
            <a:off x="407988" y="1368781"/>
            <a:ext cx="11403012" cy="4876800"/>
          </a:xfrm>
        </p:spPr>
        <p:txBody>
          <a:bodyPr tIns="36000">
            <a:noAutofit/>
          </a:bodyPr>
          <a:lstStyle>
            <a:lvl1pPr>
              <a:defRPr spc="-20" baseline="0"/>
            </a:lvl1pPr>
            <a:lvl2pPr>
              <a:defRPr spc="-20" baseline="0"/>
            </a:lvl2pPr>
            <a:lvl3pPr>
              <a:defRPr spc="-20" baseline="0"/>
            </a:lvl3pPr>
            <a:lvl4pPr>
              <a:defRPr spc="-20" baseline="0"/>
            </a:lvl4pPr>
            <a:lvl5pPr marL="1076325" indent="-228600">
              <a:defRPr spc="-2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lowchart: Decision 2">
            <a:extLst>
              <a:ext uri="{FF2B5EF4-FFF2-40B4-BE49-F238E27FC236}">
                <a16:creationId xmlns:a16="http://schemas.microsoft.com/office/drawing/2014/main" id="{9A8F7E11-5B0A-4AF4-AB98-FF1A200CAFBE}"/>
              </a:ext>
            </a:extLst>
          </p:cNvPr>
          <p:cNvSpPr/>
          <p:nvPr userDrawn="1"/>
        </p:nvSpPr>
        <p:spPr>
          <a:xfrm>
            <a:off x="-733456" y="2572130"/>
            <a:ext cx="1466907" cy="845513"/>
          </a:xfrm>
          <a:prstGeom prst="flowChartDecision">
            <a:avLst/>
          </a:prstGeom>
          <a:solidFill>
            <a:srgbClr val="FFFFFF">
              <a:alpha val="2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7" name="Flowchart: Decision 6">
            <a:extLst>
              <a:ext uri="{FF2B5EF4-FFF2-40B4-BE49-F238E27FC236}">
                <a16:creationId xmlns:a16="http://schemas.microsoft.com/office/drawing/2014/main" id="{ADF7B211-E921-4D40-A122-2A8884620A18}"/>
              </a:ext>
            </a:extLst>
          </p:cNvPr>
          <p:cNvSpPr/>
          <p:nvPr userDrawn="1"/>
        </p:nvSpPr>
        <p:spPr>
          <a:xfrm>
            <a:off x="8989627" y="-214470"/>
            <a:ext cx="2915253" cy="1680327"/>
          </a:xfrm>
          <a:prstGeom prst="flowChartDecision">
            <a:avLst/>
          </a:prstGeom>
          <a:solidFill>
            <a:srgbClr val="FFFFFF">
              <a:alpha val="2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8" name="Flowchart: Decision 7">
            <a:extLst>
              <a:ext uri="{FF2B5EF4-FFF2-40B4-BE49-F238E27FC236}">
                <a16:creationId xmlns:a16="http://schemas.microsoft.com/office/drawing/2014/main" id="{FFC09DC6-3692-45C8-BFDA-A0B0D39BED46}"/>
              </a:ext>
            </a:extLst>
          </p:cNvPr>
          <p:cNvSpPr/>
          <p:nvPr userDrawn="1"/>
        </p:nvSpPr>
        <p:spPr>
          <a:xfrm>
            <a:off x="10487343" y="3712670"/>
            <a:ext cx="2915253" cy="1680327"/>
          </a:xfrm>
          <a:prstGeom prst="flowChartDecision">
            <a:avLst/>
          </a:prstGeom>
          <a:solidFill>
            <a:srgbClr val="FFFFFF">
              <a:alpha val="2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9" name="Flowchart: Decision 8">
            <a:extLst>
              <a:ext uri="{FF2B5EF4-FFF2-40B4-BE49-F238E27FC236}">
                <a16:creationId xmlns:a16="http://schemas.microsoft.com/office/drawing/2014/main" id="{3B7D3554-CF39-47FD-B6D3-3C7E7E454012}"/>
              </a:ext>
            </a:extLst>
          </p:cNvPr>
          <p:cNvSpPr/>
          <p:nvPr userDrawn="1"/>
        </p:nvSpPr>
        <p:spPr>
          <a:xfrm>
            <a:off x="6924458" y="780003"/>
            <a:ext cx="2065169" cy="1190346"/>
          </a:xfrm>
          <a:prstGeom prst="flowChartDecision">
            <a:avLst/>
          </a:prstGeom>
          <a:solidFill>
            <a:srgbClr val="FFFFFF">
              <a:alpha val="2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10" name="Flowchart: Decision 9">
            <a:extLst>
              <a:ext uri="{FF2B5EF4-FFF2-40B4-BE49-F238E27FC236}">
                <a16:creationId xmlns:a16="http://schemas.microsoft.com/office/drawing/2014/main" id="{F5E4D09A-C5DE-41D9-B75A-2ED508FEA981}"/>
              </a:ext>
            </a:extLst>
          </p:cNvPr>
          <p:cNvSpPr/>
          <p:nvPr userDrawn="1"/>
        </p:nvSpPr>
        <p:spPr>
          <a:xfrm>
            <a:off x="1637734" y="5656647"/>
            <a:ext cx="2915253" cy="1680327"/>
          </a:xfrm>
          <a:prstGeom prst="flowChartDecision">
            <a:avLst/>
          </a:prstGeom>
          <a:solidFill>
            <a:srgbClr val="FFFFFF">
              <a:alpha val="2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11" name="Flowchart: Decision 10">
            <a:extLst>
              <a:ext uri="{FF2B5EF4-FFF2-40B4-BE49-F238E27FC236}">
                <a16:creationId xmlns:a16="http://schemas.microsoft.com/office/drawing/2014/main" id="{74145F29-E818-46E0-8500-83FB240D425C}"/>
              </a:ext>
            </a:extLst>
          </p:cNvPr>
          <p:cNvSpPr/>
          <p:nvPr userDrawn="1"/>
        </p:nvSpPr>
        <p:spPr>
          <a:xfrm>
            <a:off x="1999584" y="4565254"/>
            <a:ext cx="2915253" cy="1680327"/>
          </a:xfrm>
          <a:prstGeom prst="flowChartDecision">
            <a:avLst/>
          </a:prstGeom>
          <a:solidFill>
            <a:srgbClr val="FFFFFF">
              <a:alpha val="2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12" name="Flowchart: Decision 11">
            <a:extLst>
              <a:ext uri="{FF2B5EF4-FFF2-40B4-BE49-F238E27FC236}">
                <a16:creationId xmlns:a16="http://schemas.microsoft.com/office/drawing/2014/main" id="{0F1985A4-DEA8-4504-8ECB-5B7AC4823704}"/>
              </a:ext>
            </a:extLst>
          </p:cNvPr>
          <p:cNvSpPr/>
          <p:nvPr userDrawn="1"/>
        </p:nvSpPr>
        <p:spPr>
          <a:xfrm>
            <a:off x="-1926662" y="3473861"/>
            <a:ext cx="5401756" cy="3113526"/>
          </a:xfrm>
          <a:prstGeom prst="flowChartDecision">
            <a:avLst/>
          </a:prstGeom>
          <a:solidFill>
            <a:srgbClr val="FFFFFF">
              <a:alpha val="2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13" name="Flowchart: Decision 12">
            <a:extLst>
              <a:ext uri="{FF2B5EF4-FFF2-40B4-BE49-F238E27FC236}">
                <a16:creationId xmlns:a16="http://schemas.microsoft.com/office/drawing/2014/main" id="{D0D7AA70-1B84-461F-BF30-D143A12CC457}"/>
              </a:ext>
            </a:extLst>
          </p:cNvPr>
          <p:cNvSpPr/>
          <p:nvPr userDrawn="1"/>
        </p:nvSpPr>
        <p:spPr>
          <a:xfrm>
            <a:off x="8383415" y="612419"/>
            <a:ext cx="5401756" cy="3113526"/>
          </a:xfrm>
          <a:prstGeom prst="flowChartDecision">
            <a:avLst/>
          </a:prstGeom>
          <a:solidFill>
            <a:srgbClr val="FFFFFF">
              <a:alpha val="2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14" name="Flowchart: Decision 13">
            <a:extLst>
              <a:ext uri="{FF2B5EF4-FFF2-40B4-BE49-F238E27FC236}">
                <a16:creationId xmlns:a16="http://schemas.microsoft.com/office/drawing/2014/main" id="{7A1F1097-D12B-4774-B7AC-493A0E1661FD}"/>
              </a:ext>
            </a:extLst>
          </p:cNvPr>
          <p:cNvSpPr/>
          <p:nvPr userDrawn="1"/>
        </p:nvSpPr>
        <p:spPr>
          <a:xfrm>
            <a:off x="8637861" y="3954206"/>
            <a:ext cx="1466907" cy="845513"/>
          </a:xfrm>
          <a:prstGeom prst="flowChartDecision">
            <a:avLst/>
          </a:prstGeom>
          <a:solidFill>
            <a:srgbClr val="FFFFFF">
              <a:alpha val="2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Tree>
    <p:extLst>
      <p:ext uri="{BB962C8B-B14F-4D97-AF65-F5344CB8AC3E}">
        <p14:creationId xmlns:p14="http://schemas.microsoft.com/office/powerpoint/2010/main" val="33555189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 content - blue back">
    <p:bg>
      <p:bgPr>
        <a:solidFill>
          <a:srgbClr val="12ABDB"/>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07988" y="252000"/>
            <a:ext cx="11384860" cy="900000"/>
          </a:xfrm>
        </p:spPr>
        <p:txBody>
          <a:bodyPr vert="horz" lIns="0" tIns="0" rIns="0" bIns="0" rtlCol="0" anchor="ctr" anchorCtr="0">
            <a:noAutofit/>
          </a:bodyPr>
          <a:lstStyle>
            <a:lvl1pPr>
              <a:defRPr lang="en-GB" sz="3000" dirty="0">
                <a:solidFill>
                  <a:schemeClr val="bg1"/>
                </a:solidFill>
                <a:latin typeface="Ubuntu" panose="020B0504030602030204" pitchFamily="34" charset="0"/>
              </a:defRPr>
            </a:lvl1pPr>
          </a:lstStyle>
          <a:p>
            <a:pPr marL="0" lvl="0"/>
            <a:r>
              <a:rPr lang="en-US"/>
              <a:t>Click to edit Master title style</a:t>
            </a:r>
            <a:endParaRPr lang="en-GB"/>
          </a:p>
        </p:txBody>
      </p:sp>
      <p:sp>
        <p:nvSpPr>
          <p:cNvPr id="7" name="Rectangle 27">
            <a:extLst>
              <a:ext uri="{FF2B5EF4-FFF2-40B4-BE49-F238E27FC236}">
                <a16:creationId xmlns:a16="http://schemas.microsoft.com/office/drawing/2014/main" id="{0809E1AE-1AEC-49E5-86E2-3B4D9323E740}"/>
              </a:ext>
            </a:extLst>
          </p:cNvPr>
          <p:cNvSpPr/>
          <p:nvPr userDrawn="1"/>
        </p:nvSpPr>
        <p:spPr>
          <a:xfrm>
            <a:off x="8436248" y="6555971"/>
            <a:ext cx="3356600"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dirty="0">
                <a:solidFill>
                  <a:schemeClr val="bg1">
                    <a:lumMod val="85000"/>
                  </a:schemeClr>
                </a:solidFill>
                <a:latin typeface="Ubuntu" panose="020B0504030602030204" pitchFamily="34" charset="0"/>
                <a:cs typeface="Arial" panose="020B0604020202020204" pitchFamily="34" charset="0"/>
              </a:rPr>
              <a:t>© 2022. Sogeti. All rights reserved</a:t>
            </a:r>
            <a:endParaRPr lang="en-GB" sz="800" kern="0" dirty="0">
              <a:solidFill>
                <a:schemeClr val="bg1">
                  <a:lumMod val="85000"/>
                </a:schemeClr>
              </a:solidFill>
              <a:latin typeface="Ubuntu" panose="020B0504030602030204" pitchFamily="34" charset="0"/>
              <a:cs typeface="Arial" panose="020B0604020202020204" pitchFamily="34" charset="0"/>
            </a:endParaRPr>
          </a:p>
        </p:txBody>
      </p:sp>
      <p:sp>
        <p:nvSpPr>
          <p:cNvPr id="8" name="Text Placeholder 3">
            <a:extLst>
              <a:ext uri="{FF2B5EF4-FFF2-40B4-BE49-F238E27FC236}">
                <a16:creationId xmlns:a16="http://schemas.microsoft.com/office/drawing/2014/main" id="{F1399E04-AFF3-4639-8B46-1093AFA90B97}"/>
              </a:ext>
            </a:extLst>
          </p:cNvPr>
          <p:cNvSpPr>
            <a:spLocks noGrp="1"/>
          </p:cNvSpPr>
          <p:nvPr>
            <p:ph type="body" sz="quarter" idx="10"/>
          </p:nvPr>
        </p:nvSpPr>
        <p:spPr>
          <a:xfrm>
            <a:off x="407988" y="1368781"/>
            <a:ext cx="11384860" cy="4876800"/>
          </a:xfrm>
        </p:spPr>
        <p:txBody>
          <a:bodyPr tIns="36000">
            <a:noAutofit/>
          </a:bodyPr>
          <a:lstStyle>
            <a:lvl1pPr>
              <a:defRPr spc="-20" baseline="0">
                <a:solidFill>
                  <a:schemeClr val="bg1"/>
                </a:solidFill>
              </a:defRPr>
            </a:lvl1pPr>
            <a:lvl2pPr>
              <a:defRPr spc="-20" baseline="0">
                <a:solidFill>
                  <a:schemeClr val="bg1"/>
                </a:solidFill>
              </a:defRPr>
            </a:lvl2pPr>
            <a:lvl3pPr>
              <a:defRPr spc="-20" baseline="0">
                <a:solidFill>
                  <a:schemeClr val="bg1"/>
                </a:solidFill>
              </a:defRPr>
            </a:lvl3pPr>
            <a:lvl4pPr>
              <a:defRPr spc="-20" baseline="0">
                <a:solidFill>
                  <a:schemeClr val="bg1"/>
                </a:solidFill>
              </a:defRPr>
            </a:lvl4pPr>
            <a:lvl5pPr marL="1076325" indent="-228600">
              <a:defRPr spc="-2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15362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 content - blue data back">
    <p:bg>
      <p:bgPr>
        <a:solidFill>
          <a:srgbClr val="12ABDB"/>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3ACDB9A-E0B8-4220-B426-D2C9B9631794}"/>
              </a:ext>
            </a:extLst>
          </p:cNvPr>
          <p:cNvSpPr/>
          <p:nvPr userDrawn="1"/>
        </p:nvSpPr>
        <p:spPr>
          <a:xfrm>
            <a:off x="7599651" y="3326594"/>
            <a:ext cx="4592349" cy="3531406"/>
          </a:xfrm>
          <a:prstGeom prst="rect">
            <a:avLst/>
          </a:prstGeom>
          <a:blipFill dpi="0" rotWithShape="1">
            <a:blip r:embed="rId3">
              <a:alphaModFix amt="32000"/>
            </a:blip>
            <a:srcRect/>
            <a:stretch>
              <a:fillRect l="-8354" r="-3390" b="-1116"/>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9" name="Rectangle 8">
            <a:extLst>
              <a:ext uri="{FF2B5EF4-FFF2-40B4-BE49-F238E27FC236}">
                <a16:creationId xmlns:a16="http://schemas.microsoft.com/office/drawing/2014/main" id="{BCE3F967-48A6-430C-AD7F-3A97FFE85946}"/>
              </a:ext>
            </a:extLst>
          </p:cNvPr>
          <p:cNvSpPr/>
          <p:nvPr userDrawn="1"/>
        </p:nvSpPr>
        <p:spPr>
          <a:xfrm rot="10800000">
            <a:off x="-1" y="1305"/>
            <a:ext cx="4592349" cy="3570802"/>
          </a:xfrm>
          <a:prstGeom prst="rect">
            <a:avLst/>
          </a:prstGeom>
          <a:blipFill dpi="0" rotWithShape="1">
            <a:blip r:embed="rId3">
              <a:alphaModFix amt="32000"/>
            </a:blip>
            <a:srcRect/>
            <a:stretch>
              <a:fillRect l="6854" t="12804" r="-18599" b="-1280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endParaRPr>
          </a:p>
        </p:txBody>
      </p:sp>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07988" y="252000"/>
            <a:ext cx="11384860" cy="900000"/>
          </a:xfrm>
        </p:spPr>
        <p:txBody>
          <a:bodyPr vert="horz" lIns="0" tIns="0" rIns="0" bIns="0" rtlCol="0" anchor="ctr" anchorCtr="0">
            <a:noAutofit/>
          </a:bodyPr>
          <a:lstStyle>
            <a:lvl1pPr>
              <a:defRPr lang="en-GB" sz="3000" dirty="0">
                <a:solidFill>
                  <a:schemeClr val="bg1"/>
                </a:solidFill>
                <a:latin typeface="Ubuntu" panose="020B0504030602030204" pitchFamily="34" charset="0"/>
              </a:defRPr>
            </a:lvl1pPr>
          </a:lstStyle>
          <a:p>
            <a:pPr marL="0" lvl="0"/>
            <a:r>
              <a:rPr lang="en-US"/>
              <a:t>Click to edit Master title style</a:t>
            </a:r>
            <a:endParaRPr lang="en-GB"/>
          </a:p>
        </p:txBody>
      </p:sp>
      <p:sp>
        <p:nvSpPr>
          <p:cNvPr id="4" name="Retângulo 43">
            <a:extLst>
              <a:ext uri="{FF2B5EF4-FFF2-40B4-BE49-F238E27FC236}">
                <a16:creationId xmlns:a16="http://schemas.microsoft.com/office/drawing/2014/main" id="{FD297B69-E868-4B9A-AF44-CDF0A9819A86}"/>
              </a:ext>
            </a:extLst>
          </p:cNvPr>
          <p:cNvSpPr/>
          <p:nvPr userDrawn="1"/>
        </p:nvSpPr>
        <p:spPr>
          <a:xfrm>
            <a:off x="5938745" y="6555758"/>
            <a:ext cx="314510" cy="215444"/>
          </a:xfrm>
          <a:prstGeom prst="rect">
            <a:avLst/>
          </a:prstGeom>
        </p:spPr>
        <p:txBody>
          <a:bodyPr wrap="none">
            <a:spAutoFit/>
          </a:bodyPr>
          <a:lstStyle/>
          <a:p>
            <a:pPr algn="r"/>
            <a:fld id="{0502E5A9-B53C-401E-A0E0-4A359BB0A9E5}" type="slidenum">
              <a:rPr lang="en-US" sz="800" smtClean="0">
                <a:solidFill>
                  <a:schemeClr val="bg1">
                    <a:lumMod val="85000"/>
                  </a:schemeClr>
                </a:solidFill>
                <a:latin typeface="Ubuntu" panose="020B0504030602030204" pitchFamily="34" charset="0"/>
                <a:cs typeface="Arial" panose="020B0604020202020204" pitchFamily="34" charset="0"/>
              </a:rPr>
              <a:t>‹#›</a:t>
            </a:fld>
            <a:endParaRPr lang="en-US" sz="800">
              <a:solidFill>
                <a:schemeClr val="bg1">
                  <a:lumMod val="85000"/>
                </a:schemeClr>
              </a:solidFill>
              <a:latin typeface="Ubuntu" panose="020B0504030602030204" pitchFamily="34" charset="0"/>
              <a:cs typeface="Arial" panose="020B0604020202020204" pitchFamily="34" charset="0"/>
            </a:endParaRPr>
          </a:p>
        </p:txBody>
      </p:sp>
      <p:sp>
        <p:nvSpPr>
          <p:cNvPr id="6" name="Rectangle 27">
            <a:extLst>
              <a:ext uri="{FF2B5EF4-FFF2-40B4-BE49-F238E27FC236}">
                <a16:creationId xmlns:a16="http://schemas.microsoft.com/office/drawing/2014/main" id="{A1B7906D-4E14-47D9-92AC-B09D1C9F144C}"/>
              </a:ext>
            </a:extLst>
          </p:cNvPr>
          <p:cNvSpPr/>
          <p:nvPr userDrawn="1"/>
        </p:nvSpPr>
        <p:spPr>
          <a:xfrm>
            <a:off x="399153" y="65559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0" dirty="0">
                <a:solidFill>
                  <a:schemeClr val="bg1">
                    <a:lumMod val="85000"/>
                  </a:schemeClr>
                </a:solidFill>
                <a:latin typeface="Ubuntu" panose="020B0504030602030204" pitchFamily="34" charset="0"/>
                <a:cs typeface="Arial" panose="020B0604020202020204" pitchFamily="34" charset="0"/>
              </a:rPr>
              <a:t>Sogeti Global Overview</a:t>
            </a:r>
            <a:endParaRPr lang="en-GB" sz="800" kern="0" dirty="0">
              <a:solidFill>
                <a:schemeClr val="bg1">
                  <a:lumMod val="85000"/>
                </a:schemeClr>
              </a:solidFill>
              <a:latin typeface="Ubuntu" panose="020B0504030602030204" pitchFamily="34" charset="0"/>
              <a:cs typeface="Arial" panose="020B0604020202020204" pitchFamily="34" charset="0"/>
            </a:endParaRPr>
          </a:p>
        </p:txBody>
      </p:sp>
      <p:sp>
        <p:nvSpPr>
          <p:cNvPr id="7" name="Rectangle 27">
            <a:extLst>
              <a:ext uri="{FF2B5EF4-FFF2-40B4-BE49-F238E27FC236}">
                <a16:creationId xmlns:a16="http://schemas.microsoft.com/office/drawing/2014/main" id="{0809E1AE-1AEC-49E5-86E2-3B4D9323E740}"/>
              </a:ext>
            </a:extLst>
          </p:cNvPr>
          <p:cNvSpPr/>
          <p:nvPr userDrawn="1"/>
        </p:nvSpPr>
        <p:spPr>
          <a:xfrm>
            <a:off x="8436248" y="6555971"/>
            <a:ext cx="3356600"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dirty="0">
                <a:solidFill>
                  <a:schemeClr val="bg1">
                    <a:lumMod val="85000"/>
                  </a:schemeClr>
                </a:solidFill>
                <a:latin typeface="Ubuntu" panose="020B0504030602030204" pitchFamily="34" charset="0"/>
                <a:cs typeface="Arial" panose="020B0604020202020204" pitchFamily="34" charset="0"/>
              </a:rPr>
              <a:t>© 2021 Sogeti. All rights reserved</a:t>
            </a:r>
            <a:endParaRPr lang="en-GB" sz="800" kern="0" dirty="0">
              <a:solidFill>
                <a:schemeClr val="bg1">
                  <a:lumMod val="85000"/>
                </a:schemeClr>
              </a:solidFill>
              <a:latin typeface="Ubuntu" panose="020B0504030602030204" pitchFamily="34" charset="0"/>
              <a:cs typeface="Arial" panose="020B0604020202020204" pitchFamily="34" charset="0"/>
            </a:endParaRPr>
          </a:p>
        </p:txBody>
      </p:sp>
      <p:sp>
        <p:nvSpPr>
          <p:cNvPr id="10" name="Text Placeholder 3">
            <a:extLst>
              <a:ext uri="{FF2B5EF4-FFF2-40B4-BE49-F238E27FC236}">
                <a16:creationId xmlns:a16="http://schemas.microsoft.com/office/drawing/2014/main" id="{1D992FEB-C195-434B-8F34-6CDB08114005}"/>
              </a:ext>
            </a:extLst>
          </p:cNvPr>
          <p:cNvSpPr>
            <a:spLocks noGrp="1"/>
          </p:cNvSpPr>
          <p:nvPr>
            <p:ph type="body" sz="quarter" idx="10"/>
          </p:nvPr>
        </p:nvSpPr>
        <p:spPr>
          <a:xfrm>
            <a:off x="407988" y="1368781"/>
            <a:ext cx="11384860" cy="4876800"/>
          </a:xfrm>
        </p:spPr>
        <p:txBody>
          <a:bodyPr tIns="36000">
            <a:noAutofit/>
          </a:bodyPr>
          <a:lstStyle>
            <a:lvl1pPr>
              <a:defRPr spc="-20" baseline="0">
                <a:solidFill>
                  <a:schemeClr val="bg1"/>
                </a:solidFill>
              </a:defRPr>
            </a:lvl1pPr>
            <a:lvl2pPr>
              <a:defRPr spc="-20" baseline="0">
                <a:solidFill>
                  <a:schemeClr val="bg1"/>
                </a:solidFill>
              </a:defRPr>
            </a:lvl2pPr>
            <a:lvl3pPr>
              <a:defRPr spc="-20" baseline="0">
                <a:solidFill>
                  <a:schemeClr val="bg1"/>
                </a:solidFill>
              </a:defRPr>
            </a:lvl3pPr>
            <a:lvl4pPr>
              <a:defRPr spc="-20" baseline="0">
                <a:solidFill>
                  <a:schemeClr val="bg1"/>
                </a:solidFill>
              </a:defRPr>
            </a:lvl4pPr>
            <a:lvl5pPr marL="1076325" indent="-228600">
              <a:defRPr spc="-2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308298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 content - purple back">
    <p:bg>
      <p:bgPr>
        <a:solidFill>
          <a:srgbClr val="2B0A3D"/>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07988" y="252000"/>
            <a:ext cx="11403012" cy="900000"/>
          </a:xfrm>
        </p:spPr>
        <p:txBody>
          <a:bodyPr vert="horz" lIns="0" tIns="0" rIns="0" bIns="0" rtlCol="0" anchor="ctr" anchorCtr="0">
            <a:noAutofit/>
          </a:bodyPr>
          <a:lstStyle>
            <a:lvl1pPr>
              <a:defRPr lang="en-GB" sz="3000" dirty="0">
                <a:solidFill>
                  <a:schemeClr val="bg1"/>
                </a:solidFill>
                <a:latin typeface="Ubuntu" panose="020B0504030602030204" pitchFamily="34" charset="0"/>
              </a:defRPr>
            </a:lvl1pPr>
          </a:lstStyle>
          <a:p>
            <a:pPr marL="0" lvl="0"/>
            <a:r>
              <a:rPr lang="en-US"/>
              <a:t>Click to edit Master title style</a:t>
            </a:r>
            <a:endParaRPr lang="en-GB"/>
          </a:p>
        </p:txBody>
      </p:sp>
      <p:sp>
        <p:nvSpPr>
          <p:cNvPr id="4" name="Text Placeholder 3">
            <a:extLst>
              <a:ext uri="{FF2B5EF4-FFF2-40B4-BE49-F238E27FC236}">
                <a16:creationId xmlns:a16="http://schemas.microsoft.com/office/drawing/2014/main" id="{3F3C6E84-978E-42E3-8BB5-D2BAAEA98165}"/>
              </a:ext>
            </a:extLst>
          </p:cNvPr>
          <p:cNvSpPr>
            <a:spLocks noGrp="1"/>
          </p:cNvSpPr>
          <p:nvPr>
            <p:ph type="body" sz="quarter" idx="10"/>
          </p:nvPr>
        </p:nvSpPr>
        <p:spPr>
          <a:xfrm>
            <a:off x="407988" y="1368781"/>
            <a:ext cx="11403012" cy="4876800"/>
          </a:xfrm>
        </p:spPr>
        <p:txBody>
          <a:bodyPr tIns="36000">
            <a:noAutofit/>
          </a:bodyPr>
          <a:lstStyle>
            <a:lvl1pPr>
              <a:defRPr spc="-20" baseline="0">
                <a:solidFill>
                  <a:schemeClr val="bg1"/>
                </a:solidFill>
              </a:defRPr>
            </a:lvl1pPr>
            <a:lvl2pPr>
              <a:defRPr spc="-20" baseline="0">
                <a:solidFill>
                  <a:schemeClr val="bg1"/>
                </a:solidFill>
              </a:defRPr>
            </a:lvl2pPr>
            <a:lvl3pPr>
              <a:defRPr spc="-20" baseline="0">
                <a:solidFill>
                  <a:schemeClr val="bg1"/>
                </a:solidFill>
              </a:defRPr>
            </a:lvl3pPr>
            <a:lvl4pPr>
              <a:defRPr spc="-20" baseline="0">
                <a:solidFill>
                  <a:schemeClr val="bg1"/>
                </a:solidFill>
              </a:defRPr>
            </a:lvl4pPr>
            <a:lvl5pPr marL="1076325" indent="-228600">
              <a:defRPr spc="-2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42554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lank-White">
    <p:spTree>
      <p:nvGrpSpPr>
        <p:cNvPr id="1" name=""/>
        <p:cNvGrpSpPr/>
        <p:nvPr/>
      </p:nvGrpSpPr>
      <p:grpSpPr>
        <a:xfrm>
          <a:off x="0" y="0"/>
          <a:ext cx="0" cy="0"/>
          <a:chOff x="0" y="0"/>
          <a:chExt cx="0" cy="0"/>
        </a:xfrm>
      </p:grpSpPr>
      <p:sp>
        <p:nvSpPr>
          <p:cNvPr id="3" name="Marcador de posición de imagen 2">
            <a:extLst>
              <a:ext uri="{FF2B5EF4-FFF2-40B4-BE49-F238E27FC236}">
                <a16:creationId xmlns:a16="http://schemas.microsoft.com/office/drawing/2014/main" id="{A8C9879A-2586-406A-A1CA-41C8D2799AD9}"/>
              </a:ext>
            </a:extLst>
          </p:cNvPr>
          <p:cNvSpPr>
            <a:spLocks noGrp="1"/>
          </p:cNvSpPr>
          <p:nvPr>
            <p:ph type="pic" sz="quarter" idx="11"/>
          </p:nvPr>
        </p:nvSpPr>
        <p:spPr>
          <a:xfrm>
            <a:off x="9448800" y="4838700"/>
            <a:ext cx="2119313" cy="1454150"/>
          </a:xfrm>
          <a:prstGeom prst="rect">
            <a:avLst/>
          </a:prstGeom>
        </p:spPr>
        <p:txBody>
          <a:bodyPr/>
          <a:lstStyle/>
          <a:p>
            <a:endParaRPr lang="en-GB"/>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9600412" y="1778042"/>
            <a:ext cx="1802423" cy="646262"/>
          </a:xfrm>
          <a:prstGeom prst="rect">
            <a:avLst/>
          </a:prstGeom>
        </p:spPr>
        <p:txBody>
          <a:bodyPr vert="horz" lIns="0" tIns="0" rIns="0" bIns="0" rtlCol="0" anchor="t">
            <a:normAutofit/>
          </a:bodyPr>
          <a:lstStyle>
            <a:lvl1pPr algn="ctr">
              <a:lnSpc>
                <a:spcPct val="100000"/>
              </a:lnSpc>
              <a:defRPr lang="pt-PT" sz="2000" b="0" i="0" dirty="0">
                <a:solidFill>
                  <a:schemeClr val="accent2"/>
                </a:solidFill>
                <a:latin typeface="Ubuntu" panose="020B0504030602030204" pitchFamily="34" charset="0"/>
              </a:defRPr>
            </a:lvl1pPr>
          </a:lstStyle>
          <a:p>
            <a:pPr lvl="0">
              <a:lnSpc>
                <a:spcPts val="3000"/>
              </a:lnSpc>
            </a:pPr>
            <a:r>
              <a:rPr lang="en-US"/>
              <a:t>Click to add title</a:t>
            </a:r>
            <a:endParaRPr lang="pt-PT"/>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79814" y="6555758"/>
            <a:ext cx="2591986" cy="219456"/>
          </a:xfrm>
          <a:prstGeom prst="rect">
            <a:avLst/>
          </a:prstGeom>
        </p:spPr>
        <p:txBody>
          <a:bodyPr wrap="none" lIns="0" tIns="0" rIns="0" bIns="0" anchor="ctr">
            <a:noAutofit/>
          </a:bodyPr>
          <a:lstStyle/>
          <a:p>
            <a:pPr>
              <a:lnSpc>
                <a:spcPct val="100000"/>
              </a:lnSpc>
            </a:pPr>
            <a:r>
              <a:rPr lang="en-US" sz="800">
                <a:solidFill>
                  <a:schemeClr val="bg2">
                    <a:lumMod val="50000"/>
                  </a:schemeClr>
                </a:solidFill>
                <a:cs typeface="Arial" panose="020B0604020202020204" pitchFamily="34" charset="0"/>
              </a:rPr>
              <a:t>© 2020 Sogeti. All rights reserved.</a:t>
            </a:r>
          </a:p>
        </p:txBody>
      </p:sp>
      <p:sp>
        <p:nvSpPr>
          <p:cNvPr id="5" name="Freeform 16">
            <a:extLst>
              <a:ext uri="{FF2B5EF4-FFF2-40B4-BE49-F238E27FC236}">
                <a16:creationId xmlns:a16="http://schemas.microsoft.com/office/drawing/2014/main" id="{8784F769-4DA7-4C4F-B06E-5390DC3FD483}"/>
              </a:ext>
            </a:extLst>
          </p:cNvPr>
          <p:cNvSpPr/>
          <p:nvPr userDrawn="1"/>
        </p:nvSpPr>
        <p:spPr>
          <a:xfrm>
            <a:off x="-22987" y="0"/>
            <a:ext cx="5830955" cy="68580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1" name="Title 1">
            <a:extLst>
              <a:ext uri="{FF2B5EF4-FFF2-40B4-BE49-F238E27FC236}">
                <a16:creationId xmlns:a16="http://schemas.microsoft.com/office/drawing/2014/main" id="{4EFC6D4F-5807-4D67-9D4D-1D7B42FF5C93}"/>
              </a:ext>
            </a:extLst>
          </p:cNvPr>
          <p:cNvSpPr txBox="1">
            <a:spLocks/>
          </p:cNvSpPr>
          <p:nvPr userDrawn="1"/>
        </p:nvSpPr>
        <p:spPr>
          <a:xfrm>
            <a:off x="4729088" y="377299"/>
            <a:ext cx="11376024" cy="479107"/>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r>
              <a:rPr lang="en-US" sz="2800" b="1">
                <a:solidFill>
                  <a:schemeClr val="accent3"/>
                </a:solidFill>
                <a:latin typeface="Ubuntu Mono" panose="020B0509030602030204" pitchFamily="49" charset="0"/>
              </a:rPr>
              <a:t>Approach</a:t>
            </a:r>
          </a:p>
        </p:txBody>
      </p:sp>
      <p:sp>
        <p:nvSpPr>
          <p:cNvPr id="24" name="Title 1">
            <a:extLst>
              <a:ext uri="{FF2B5EF4-FFF2-40B4-BE49-F238E27FC236}">
                <a16:creationId xmlns:a16="http://schemas.microsoft.com/office/drawing/2014/main" id="{73A582A1-67C5-4C6D-91B5-9CE6FDB1877E}"/>
              </a:ext>
            </a:extLst>
          </p:cNvPr>
          <p:cNvSpPr txBox="1">
            <a:spLocks/>
          </p:cNvSpPr>
          <p:nvPr userDrawn="1"/>
        </p:nvSpPr>
        <p:spPr>
          <a:xfrm>
            <a:off x="4729268" y="787683"/>
            <a:ext cx="2813321" cy="479107"/>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r>
              <a:rPr lang="en-US" sz="1600" i="1">
                <a:solidFill>
                  <a:schemeClr val="accent3"/>
                </a:solidFill>
              </a:rPr>
              <a:t>What we do? How we do it?</a:t>
            </a:r>
          </a:p>
        </p:txBody>
      </p:sp>
      <p:grpSp>
        <p:nvGrpSpPr>
          <p:cNvPr id="27" name="Grupo 26">
            <a:extLst>
              <a:ext uri="{FF2B5EF4-FFF2-40B4-BE49-F238E27FC236}">
                <a16:creationId xmlns:a16="http://schemas.microsoft.com/office/drawing/2014/main" id="{2BA492A3-981D-4CEB-9478-05D51C9B80BB}"/>
              </a:ext>
            </a:extLst>
          </p:cNvPr>
          <p:cNvGrpSpPr/>
          <p:nvPr userDrawn="1"/>
        </p:nvGrpSpPr>
        <p:grpSpPr>
          <a:xfrm>
            <a:off x="9435351" y="1614049"/>
            <a:ext cx="2132545" cy="969823"/>
            <a:chOff x="10488487" y="215003"/>
            <a:chExt cx="1422239" cy="682410"/>
          </a:xfrm>
        </p:grpSpPr>
        <p:sp>
          <p:nvSpPr>
            <p:cNvPr id="28" name="Forma libre 38">
              <a:extLst>
                <a:ext uri="{FF2B5EF4-FFF2-40B4-BE49-F238E27FC236}">
                  <a16:creationId xmlns:a16="http://schemas.microsoft.com/office/drawing/2014/main" id="{9B560B13-FBD9-4DE7-8DF0-C463E25550BB}"/>
                </a:ext>
              </a:extLst>
            </p:cNvPr>
            <p:cNvSpPr/>
            <p:nvPr/>
          </p:nvSpPr>
          <p:spPr>
            <a:xfrm>
              <a:off x="11626523" y="215003"/>
              <a:ext cx="284203" cy="266007"/>
            </a:xfrm>
            <a:custGeom>
              <a:avLst/>
              <a:gdLst>
                <a:gd name="connsiteX0" fmla="*/ 0 w 324197"/>
                <a:gd name="connsiteY0" fmla="*/ 0 h 266007"/>
                <a:gd name="connsiteX1" fmla="*/ 324197 w 324197"/>
                <a:gd name="connsiteY1" fmla="*/ 0 h 266007"/>
                <a:gd name="connsiteX2" fmla="*/ 324197 w 324197"/>
                <a:gd name="connsiteY2" fmla="*/ 266007 h 266007"/>
              </a:gdLst>
              <a:ahLst/>
              <a:cxnLst>
                <a:cxn ang="0">
                  <a:pos x="connsiteX0" y="connsiteY0"/>
                </a:cxn>
                <a:cxn ang="0">
                  <a:pos x="connsiteX1" y="connsiteY1"/>
                </a:cxn>
                <a:cxn ang="0">
                  <a:pos x="connsiteX2" y="connsiteY2"/>
                </a:cxn>
              </a:cxnLst>
              <a:rect l="l" t="t" r="r" b="b"/>
              <a:pathLst>
                <a:path w="324197" h="266007">
                  <a:moveTo>
                    <a:pt x="0" y="0"/>
                  </a:moveTo>
                  <a:lnTo>
                    <a:pt x="324197" y="0"/>
                  </a:lnTo>
                  <a:lnTo>
                    <a:pt x="324197" y="266007"/>
                  </a:lnTo>
                </a:path>
              </a:pathLst>
            </a:cu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800">
                <a:solidFill>
                  <a:schemeClr val="accent1"/>
                </a:solidFill>
              </a:endParaRPr>
            </a:p>
          </p:txBody>
        </p:sp>
        <p:sp>
          <p:nvSpPr>
            <p:cNvPr id="29" name="Forma libre 39">
              <a:extLst>
                <a:ext uri="{FF2B5EF4-FFF2-40B4-BE49-F238E27FC236}">
                  <a16:creationId xmlns:a16="http://schemas.microsoft.com/office/drawing/2014/main" id="{C0F514D2-B83B-44FD-A2AE-C7BF8E018753}"/>
                </a:ext>
              </a:extLst>
            </p:cNvPr>
            <p:cNvSpPr/>
            <p:nvPr/>
          </p:nvSpPr>
          <p:spPr>
            <a:xfrm flipH="1">
              <a:off x="10488488" y="218803"/>
              <a:ext cx="284203" cy="266007"/>
            </a:xfrm>
            <a:custGeom>
              <a:avLst/>
              <a:gdLst>
                <a:gd name="connsiteX0" fmla="*/ 0 w 324197"/>
                <a:gd name="connsiteY0" fmla="*/ 0 h 266007"/>
                <a:gd name="connsiteX1" fmla="*/ 324197 w 324197"/>
                <a:gd name="connsiteY1" fmla="*/ 0 h 266007"/>
                <a:gd name="connsiteX2" fmla="*/ 324197 w 324197"/>
                <a:gd name="connsiteY2" fmla="*/ 266007 h 266007"/>
              </a:gdLst>
              <a:ahLst/>
              <a:cxnLst>
                <a:cxn ang="0">
                  <a:pos x="connsiteX0" y="connsiteY0"/>
                </a:cxn>
                <a:cxn ang="0">
                  <a:pos x="connsiteX1" y="connsiteY1"/>
                </a:cxn>
                <a:cxn ang="0">
                  <a:pos x="connsiteX2" y="connsiteY2"/>
                </a:cxn>
              </a:cxnLst>
              <a:rect l="l" t="t" r="r" b="b"/>
              <a:pathLst>
                <a:path w="324197" h="266007">
                  <a:moveTo>
                    <a:pt x="0" y="0"/>
                  </a:moveTo>
                  <a:lnTo>
                    <a:pt x="324197" y="0"/>
                  </a:lnTo>
                  <a:lnTo>
                    <a:pt x="324197" y="266007"/>
                  </a:lnTo>
                </a:path>
              </a:pathLst>
            </a:cu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800">
                <a:solidFill>
                  <a:schemeClr val="accent1"/>
                </a:solidFill>
              </a:endParaRPr>
            </a:p>
          </p:txBody>
        </p:sp>
        <p:sp>
          <p:nvSpPr>
            <p:cNvPr id="30" name="Forma libre 40">
              <a:extLst>
                <a:ext uri="{FF2B5EF4-FFF2-40B4-BE49-F238E27FC236}">
                  <a16:creationId xmlns:a16="http://schemas.microsoft.com/office/drawing/2014/main" id="{C8193272-B57C-4746-8BFA-C37E1F3CE58B}"/>
                </a:ext>
              </a:extLst>
            </p:cNvPr>
            <p:cNvSpPr/>
            <p:nvPr/>
          </p:nvSpPr>
          <p:spPr>
            <a:xfrm flipH="1" flipV="1">
              <a:off x="10488487" y="588404"/>
              <a:ext cx="284204" cy="307805"/>
            </a:xfrm>
            <a:custGeom>
              <a:avLst/>
              <a:gdLst>
                <a:gd name="connsiteX0" fmla="*/ 0 w 324197"/>
                <a:gd name="connsiteY0" fmla="*/ 0 h 266007"/>
                <a:gd name="connsiteX1" fmla="*/ 324197 w 324197"/>
                <a:gd name="connsiteY1" fmla="*/ 0 h 266007"/>
                <a:gd name="connsiteX2" fmla="*/ 324197 w 324197"/>
                <a:gd name="connsiteY2" fmla="*/ 266007 h 266007"/>
              </a:gdLst>
              <a:ahLst/>
              <a:cxnLst>
                <a:cxn ang="0">
                  <a:pos x="connsiteX0" y="connsiteY0"/>
                </a:cxn>
                <a:cxn ang="0">
                  <a:pos x="connsiteX1" y="connsiteY1"/>
                </a:cxn>
                <a:cxn ang="0">
                  <a:pos x="connsiteX2" y="connsiteY2"/>
                </a:cxn>
              </a:cxnLst>
              <a:rect l="l" t="t" r="r" b="b"/>
              <a:pathLst>
                <a:path w="324197" h="266007">
                  <a:moveTo>
                    <a:pt x="0" y="0"/>
                  </a:moveTo>
                  <a:lnTo>
                    <a:pt x="324197" y="0"/>
                  </a:lnTo>
                  <a:lnTo>
                    <a:pt x="324197" y="266007"/>
                  </a:lnTo>
                </a:path>
              </a:pathLst>
            </a:cu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800">
                <a:solidFill>
                  <a:schemeClr val="accent1"/>
                </a:solidFill>
              </a:endParaRPr>
            </a:p>
          </p:txBody>
        </p:sp>
        <p:sp>
          <p:nvSpPr>
            <p:cNvPr id="31" name="Forma libre 41">
              <a:extLst>
                <a:ext uri="{FF2B5EF4-FFF2-40B4-BE49-F238E27FC236}">
                  <a16:creationId xmlns:a16="http://schemas.microsoft.com/office/drawing/2014/main" id="{DC0B3F4A-1724-42F4-B370-873C9938D226}"/>
                </a:ext>
              </a:extLst>
            </p:cNvPr>
            <p:cNvSpPr/>
            <p:nvPr/>
          </p:nvSpPr>
          <p:spPr>
            <a:xfrm flipV="1">
              <a:off x="11626522" y="589608"/>
              <a:ext cx="284203" cy="307805"/>
            </a:xfrm>
            <a:custGeom>
              <a:avLst/>
              <a:gdLst>
                <a:gd name="connsiteX0" fmla="*/ 0 w 324197"/>
                <a:gd name="connsiteY0" fmla="*/ 0 h 266007"/>
                <a:gd name="connsiteX1" fmla="*/ 324197 w 324197"/>
                <a:gd name="connsiteY1" fmla="*/ 0 h 266007"/>
                <a:gd name="connsiteX2" fmla="*/ 324197 w 324197"/>
                <a:gd name="connsiteY2" fmla="*/ 266007 h 266007"/>
              </a:gdLst>
              <a:ahLst/>
              <a:cxnLst>
                <a:cxn ang="0">
                  <a:pos x="connsiteX0" y="connsiteY0"/>
                </a:cxn>
                <a:cxn ang="0">
                  <a:pos x="connsiteX1" y="connsiteY1"/>
                </a:cxn>
                <a:cxn ang="0">
                  <a:pos x="connsiteX2" y="connsiteY2"/>
                </a:cxn>
              </a:cxnLst>
              <a:rect l="l" t="t" r="r" b="b"/>
              <a:pathLst>
                <a:path w="324197" h="266007">
                  <a:moveTo>
                    <a:pt x="0" y="0"/>
                  </a:moveTo>
                  <a:lnTo>
                    <a:pt x="324197" y="0"/>
                  </a:lnTo>
                  <a:lnTo>
                    <a:pt x="324197" y="266007"/>
                  </a:lnTo>
                </a:path>
              </a:pathLst>
            </a:cu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800">
                <a:solidFill>
                  <a:schemeClr val="accent1"/>
                </a:solidFill>
              </a:endParaRPr>
            </a:p>
          </p:txBody>
        </p:sp>
      </p:grpSp>
      <p:sp>
        <p:nvSpPr>
          <p:cNvPr id="33" name="Marcador de texto 32">
            <a:extLst>
              <a:ext uri="{FF2B5EF4-FFF2-40B4-BE49-F238E27FC236}">
                <a16:creationId xmlns:a16="http://schemas.microsoft.com/office/drawing/2014/main" id="{7249E9AA-9773-4C10-8E5B-39831154715B}"/>
              </a:ext>
            </a:extLst>
          </p:cNvPr>
          <p:cNvSpPr>
            <a:spLocks noGrp="1"/>
          </p:cNvSpPr>
          <p:nvPr>
            <p:ph type="body" sz="quarter" idx="10"/>
          </p:nvPr>
        </p:nvSpPr>
        <p:spPr>
          <a:xfrm>
            <a:off x="9449559" y="2771524"/>
            <a:ext cx="2107852" cy="1815881"/>
          </a:xfrm>
          <a:prstGeom prst="rect">
            <a:avLst/>
          </a:prstGeom>
        </p:spPr>
        <p:txBody>
          <a:bodyPr/>
          <a:lstStyle>
            <a:lvl1pPr>
              <a:lnSpc>
                <a:spcPct val="100000"/>
              </a:lnSpc>
              <a:defRPr lang="es-ES" sz="1600" kern="1200" dirty="0" smtClean="0">
                <a:solidFill>
                  <a:schemeClr val="accent3"/>
                </a:solidFill>
                <a:latin typeface="Ubuntu" panose="020B0504030602030204" pitchFamily="34" charset="0"/>
                <a:ea typeface="+mn-ea"/>
                <a:cs typeface="+mn-cs"/>
              </a:defRPr>
            </a:lvl1pPr>
            <a:lvl2pPr>
              <a:lnSpc>
                <a:spcPct val="100000"/>
              </a:lnSpc>
              <a:defRPr lang="es-ES" sz="1600" kern="1200" dirty="0" smtClean="0">
                <a:solidFill>
                  <a:schemeClr val="accent3"/>
                </a:solidFill>
                <a:latin typeface="Ubuntu" panose="020B0504030602030204" pitchFamily="34" charset="0"/>
                <a:ea typeface="+mn-ea"/>
                <a:cs typeface="+mn-cs"/>
              </a:defRPr>
            </a:lvl2pPr>
            <a:lvl3pPr>
              <a:lnSpc>
                <a:spcPct val="100000"/>
              </a:lnSpc>
              <a:defRPr lang="es-ES" sz="1600" kern="1200" dirty="0" smtClean="0">
                <a:solidFill>
                  <a:schemeClr val="accent3"/>
                </a:solidFill>
                <a:latin typeface="Ubuntu" panose="020B0504030602030204" pitchFamily="34" charset="0"/>
                <a:ea typeface="+mn-ea"/>
                <a:cs typeface="+mn-cs"/>
              </a:defRPr>
            </a:lvl3pPr>
            <a:lvl4pPr>
              <a:lnSpc>
                <a:spcPct val="100000"/>
              </a:lnSpc>
              <a:defRPr lang="es-ES" sz="1600" kern="1200" dirty="0" smtClean="0">
                <a:solidFill>
                  <a:schemeClr val="accent3"/>
                </a:solidFill>
                <a:latin typeface="Ubuntu" panose="020B0504030602030204" pitchFamily="34" charset="0"/>
                <a:ea typeface="+mn-ea"/>
                <a:cs typeface="+mn-cs"/>
              </a:defRPr>
            </a:lvl4pPr>
            <a:lvl5pPr>
              <a:lnSpc>
                <a:spcPct val="100000"/>
              </a:lnSpc>
              <a:defRPr lang="en-GB" sz="1600" kern="1200" dirty="0">
                <a:solidFill>
                  <a:schemeClr val="accent3"/>
                </a:solidFill>
                <a:latin typeface="Ubuntu" panose="020B0504030602030204" pitchFamily="34" charset="0"/>
                <a:ea typeface="+mn-ea"/>
                <a:cs typeface="+mn-cs"/>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37" name="Title 1">
            <a:extLst>
              <a:ext uri="{FF2B5EF4-FFF2-40B4-BE49-F238E27FC236}">
                <a16:creationId xmlns:a16="http://schemas.microsoft.com/office/drawing/2014/main" id="{0BE45C9D-D59B-4862-B83E-6E5B1DF13AC2}"/>
              </a:ext>
            </a:extLst>
          </p:cNvPr>
          <p:cNvSpPr txBox="1">
            <a:spLocks/>
          </p:cNvSpPr>
          <p:nvPr userDrawn="1"/>
        </p:nvSpPr>
        <p:spPr>
          <a:xfrm>
            <a:off x="696022" y="3540264"/>
            <a:ext cx="11376024" cy="479107"/>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r>
              <a:rPr lang="en-US" sz="2800" b="1">
                <a:solidFill>
                  <a:schemeClr val="bg1"/>
                </a:solidFill>
                <a:latin typeface="Ubuntu Mono" panose="020B0509030602030204" pitchFamily="49" charset="0"/>
              </a:rPr>
              <a:t>Value</a:t>
            </a:r>
          </a:p>
        </p:txBody>
      </p:sp>
      <p:sp>
        <p:nvSpPr>
          <p:cNvPr id="38" name="Title 1">
            <a:extLst>
              <a:ext uri="{FF2B5EF4-FFF2-40B4-BE49-F238E27FC236}">
                <a16:creationId xmlns:a16="http://schemas.microsoft.com/office/drawing/2014/main" id="{37025ADD-45F0-4223-80D2-9D5BC34E8904}"/>
              </a:ext>
            </a:extLst>
          </p:cNvPr>
          <p:cNvSpPr txBox="1">
            <a:spLocks/>
          </p:cNvSpPr>
          <p:nvPr userDrawn="1"/>
        </p:nvSpPr>
        <p:spPr>
          <a:xfrm>
            <a:off x="696022" y="3903405"/>
            <a:ext cx="2813321" cy="479107"/>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r>
              <a:rPr lang="en-US" sz="1600" i="1">
                <a:solidFill>
                  <a:schemeClr val="accent2"/>
                </a:solidFill>
              </a:rPr>
              <a:t>Why we do it?</a:t>
            </a:r>
          </a:p>
        </p:txBody>
      </p:sp>
      <p:sp>
        <p:nvSpPr>
          <p:cNvPr id="40" name="Title 1">
            <a:extLst>
              <a:ext uri="{FF2B5EF4-FFF2-40B4-BE49-F238E27FC236}">
                <a16:creationId xmlns:a16="http://schemas.microsoft.com/office/drawing/2014/main" id="{040E4CC5-D410-4884-8DEE-D6B499B7ABE7}"/>
              </a:ext>
            </a:extLst>
          </p:cNvPr>
          <p:cNvSpPr txBox="1">
            <a:spLocks/>
          </p:cNvSpPr>
          <p:nvPr userDrawn="1"/>
        </p:nvSpPr>
        <p:spPr>
          <a:xfrm>
            <a:off x="641005" y="408586"/>
            <a:ext cx="1868076" cy="479107"/>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r>
              <a:rPr lang="en-US" sz="2800" b="1">
                <a:solidFill>
                  <a:schemeClr val="bg1"/>
                </a:solidFill>
                <a:latin typeface="Ubuntu Mono" panose="020B0509030602030204" pitchFamily="49" charset="0"/>
              </a:rPr>
              <a:t>Context</a:t>
            </a:r>
          </a:p>
        </p:txBody>
      </p:sp>
      <p:sp>
        <p:nvSpPr>
          <p:cNvPr id="41" name="Title 1">
            <a:extLst>
              <a:ext uri="{FF2B5EF4-FFF2-40B4-BE49-F238E27FC236}">
                <a16:creationId xmlns:a16="http://schemas.microsoft.com/office/drawing/2014/main" id="{86F0C253-AA89-4F54-989C-D88EE47DCC8D}"/>
              </a:ext>
            </a:extLst>
          </p:cNvPr>
          <p:cNvSpPr txBox="1">
            <a:spLocks/>
          </p:cNvSpPr>
          <p:nvPr userDrawn="1"/>
        </p:nvSpPr>
        <p:spPr>
          <a:xfrm>
            <a:off x="634588" y="750901"/>
            <a:ext cx="2813321" cy="479107"/>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r>
              <a:rPr lang="en-US" sz="1600" i="1">
                <a:solidFill>
                  <a:schemeClr val="accent2"/>
                </a:solidFill>
              </a:rPr>
              <a:t>Customer challenges</a:t>
            </a:r>
          </a:p>
        </p:txBody>
      </p:sp>
      <p:sp>
        <p:nvSpPr>
          <p:cNvPr id="43" name="Freeform 11">
            <a:extLst>
              <a:ext uri="{FF2B5EF4-FFF2-40B4-BE49-F238E27FC236}">
                <a16:creationId xmlns:a16="http://schemas.microsoft.com/office/drawing/2014/main" id="{CB247926-8A4A-427A-9772-1FFF8016632C}"/>
              </a:ext>
            </a:extLst>
          </p:cNvPr>
          <p:cNvSpPr/>
          <p:nvPr userDrawn="1"/>
        </p:nvSpPr>
        <p:spPr>
          <a:xfrm rot="10800000">
            <a:off x="9311054" y="-13600"/>
            <a:ext cx="2880946" cy="1273294"/>
          </a:xfrm>
          <a:custGeom>
            <a:avLst/>
            <a:gdLst>
              <a:gd name="connsiteX0" fmla="*/ 4395998 w 7237505"/>
              <a:gd name="connsiteY0" fmla="*/ 58 h 4933262"/>
              <a:gd name="connsiteX1" fmla="*/ 7233138 w 7237505"/>
              <a:gd name="connsiteY1" fmla="*/ 4903565 h 4933262"/>
              <a:gd name="connsiteX2" fmla="*/ 7237505 w 7237505"/>
              <a:gd name="connsiteY2" fmla="*/ 4933262 h 4933262"/>
              <a:gd name="connsiteX3" fmla="*/ 0 w 7237505"/>
              <a:gd name="connsiteY3" fmla="*/ 4933262 h 4933262"/>
              <a:gd name="connsiteX4" fmla="*/ 0 w 7237505"/>
              <a:gd name="connsiteY4" fmla="*/ 1491292 h 4933262"/>
              <a:gd name="connsiteX5" fmla="*/ 148016 w 7237505"/>
              <a:gd name="connsiteY5" fmla="*/ 1437398 h 4933262"/>
              <a:gd name="connsiteX6" fmla="*/ 3756131 w 7237505"/>
              <a:gd name="connsiteY6" fmla="*/ 123640 h 4933262"/>
              <a:gd name="connsiteX7" fmla="*/ 4395998 w 7237505"/>
              <a:gd name="connsiteY7" fmla="*/ 58 h 4933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37505" h="4933262">
                <a:moveTo>
                  <a:pt x="4395998" y="58"/>
                </a:moveTo>
                <a:cubicBezTo>
                  <a:pt x="6238787" y="-15730"/>
                  <a:pt x="6966936" y="3156975"/>
                  <a:pt x="7233138" y="4903565"/>
                </a:cubicBezTo>
                <a:lnTo>
                  <a:pt x="7237505" y="4933262"/>
                </a:lnTo>
                <a:lnTo>
                  <a:pt x="0" y="4933262"/>
                </a:lnTo>
                <a:lnTo>
                  <a:pt x="0" y="1491292"/>
                </a:lnTo>
                <a:lnTo>
                  <a:pt x="148016" y="1437398"/>
                </a:lnTo>
                <a:cubicBezTo>
                  <a:pt x="1090161" y="1094352"/>
                  <a:pt x="2272461" y="663862"/>
                  <a:pt x="3756131" y="123640"/>
                </a:cubicBezTo>
                <a:cubicBezTo>
                  <a:pt x="3983091" y="41001"/>
                  <a:pt x="4196102" y="1771"/>
                  <a:pt x="4395998" y="58"/>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4" name="Imagen 43">
            <a:extLst>
              <a:ext uri="{FF2B5EF4-FFF2-40B4-BE49-F238E27FC236}">
                <a16:creationId xmlns:a16="http://schemas.microsoft.com/office/drawing/2014/main" id="{9AD8EB7A-98C7-4954-8670-4E7F0C9A1C20}"/>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824859" y="217731"/>
            <a:ext cx="1158927" cy="600715"/>
          </a:xfrm>
          <a:prstGeom prst="rect">
            <a:avLst/>
          </a:prstGeom>
        </p:spPr>
      </p:pic>
      <p:sp>
        <p:nvSpPr>
          <p:cNvPr id="52" name="CuadroTexto 51">
            <a:extLst>
              <a:ext uri="{FF2B5EF4-FFF2-40B4-BE49-F238E27FC236}">
                <a16:creationId xmlns:a16="http://schemas.microsoft.com/office/drawing/2014/main" id="{AD3F5070-83BB-4FF3-862A-2F897ACC5162}"/>
              </a:ext>
            </a:extLst>
          </p:cNvPr>
          <p:cNvSpPr txBox="1"/>
          <p:nvPr userDrawn="1"/>
        </p:nvSpPr>
        <p:spPr>
          <a:xfrm>
            <a:off x="11193241" y="227874"/>
            <a:ext cx="2107852" cy="461665"/>
          </a:xfrm>
          <a:prstGeom prst="rect">
            <a:avLst/>
          </a:prstGeom>
          <a:noFill/>
        </p:spPr>
        <p:txBody>
          <a:bodyPr wrap="square" rtlCol="0">
            <a:spAutoFit/>
          </a:bodyPr>
          <a:lstStyle/>
          <a:p>
            <a:r>
              <a:rPr lang="en-US" sz="1200" b="1" noProof="0">
                <a:solidFill>
                  <a:schemeClr val="bg1"/>
                </a:solidFill>
                <a:latin typeface="Ubuntu" panose="020B0504030602030204" pitchFamily="34" charset="0"/>
              </a:rPr>
              <a:t>Customer</a:t>
            </a:r>
          </a:p>
          <a:p>
            <a:r>
              <a:rPr lang="en-US" sz="1200" b="1" noProof="0">
                <a:solidFill>
                  <a:schemeClr val="bg1"/>
                </a:solidFill>
                <a:latin typeface="Ubuntu" panose="020B0504030602030204" pitchFamily="34" charset="0"/>
              </a:rPr>
              <a:t>stories</a:t>
            </a:r>
          </a:p>
        </p:txBody>
      </p:sp>
      <p:cxnSp>
        <p:nvCxnSpPr>
          <p:cNvPr id="54" name="Conector recto 53">
            <a:extLst>
              <a:ext uri="{FF2B5EF4-FFF2-40B4-BE49-F238E27FC236}">
                <a16:creationId xmlns:a16="http://schemas.microsoft.com/office/drawing/2014/main" id="{E7776513-9B4F-4C05-923C-6E38EA3EF004}"/>
              </a:ext>
            </a:extLst>
          </p:cNvPr>
          <p:cNvCxnSpPr/>
          <p:nvPr userDrawn="1"/>
        </p:nvCxnSpPr>
        <p:spPr>
          <a:xfrm>
            <a:off x="11141753" y="114300"/>
            <a:ext cx="0" cy="742106"/>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5" name="CuadroTexto 54">
            <a:extLst>
              <a:ext uri="{FF2B5EF4-FFF2-40B4-BE49-F238E27FC236}">
                <a16:creationId xmlns:a16="http://schemas.microsoft.com/office/drawing/2014/main" id="{0B6BE599-84E3-4CDC-893C-176A2E1762A6}"/>
              </a:ext>
            </a:extLst>
          </p:cNvPr>
          <p:cNvSpPr txBox="1"/>
          <p:nvPr userDrawn="1"/>
        </p:nvSpPr>
        <p:spPr>
          <a:xfrm>
            <a:off x="9861494" y="1432479"/>
            <a:ext cx="1280259" cy="276999"/>
          </a:xfrm>
          <a:prstGeom prst="rect">
            <a:avLst/>
          </a:prstGeom>
          <a:noFill/>
        </p:spPr>
        <p:txBody>
          <a:bodyPr wrap="square" rtlCol="0">
            <a:spAutoFit/>
          </a:bodyPr>
          <a:lstStyle/>
          <a:p>
            <a:pPr algn="ctr"/>
            <a:r>
              <a:rPr lang="es-ES" sz="1200" b="0">
                <a:solidFill>
                  <a:schemeClr val="accent2"/>
                </a:solidFill>
                <a:latin typeface="Ubuntu" panose="020B0504030602030204" pitchFamily="34" charset="0"/>
              </a:rPr>
              <a:t>Sogeti</a:t>
            </a:r>
            <a:r>
              <a:rPr lang="es-ES" sz="1200" b="0">
                <a:solidFill>
                  <a:schemeClr val="accent3"/>
                </a:solidFill>
                <a:latin typeface="Ubuntu" panose="020B0504030602030204" pitchFamily="34" charset="0"/>
              </a:rPr>
              <a:t> </a:t>
            </a:r>
            <a:r>
              <a:rPr lang="es-ES" sz="1200" b="0">
                <a:solidFill>
                  <a:schemeClr val="accent2"/>
                </a:solidFill>
                <a:latin typeface="Ubuntu" panose="020B0504030602030204" pitchFamily="34" charset="0"/>
              </a:rPr>
              <a:t>España</a:t>
            </a:r>
            <a:endParaRPr lang="en-GB" sz="1200" b="0">
              <a:solidFill>
                <a:schemeClr val="accent2"/>
              </a:solidFill>
              <a:latin typeface="Ubuntu" panose="020B0504030602030204" pitchFamily="34" charset="0"/>
            </a:endParaRPr>
          </a:p>
        </p:txBody>
      </p:sp>
      <p:pic>
        <p:nvPicPr>
          <p:cNvPr id="32" name="Gráfico 31" descr="Inicio">
            <a:hlinkClick r:id="" action="ppaction://noaction"/>
            <a:extLst>
              <a:ext uri="{FF2B5EF4-FFF2-40B4-BE49-F238E27FC236}">
                <a16:creationId xmlns:a16="http://schemas.microsoft.com/office/drawing/2014/main" id="{C022B3F9-6A46-4346-BAD2-3BE73FE30A0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80316" y="6527273"/>
            <a:ext cx="248169" cy="231805"/>
          </a:xfrm>
          <a:prstGeom prst="rect">
            <a:avLst/>
          </a:prstGeom>
        </p:spPr>
      </p:pic>
      <p:pic>
        <p:nvPicPr>
          <p:cNvPr id="34" name="Gráfico 33" descr="Marca de verificación">
            <a:hlinkClick r:id="" action="ppaction://noaction"/>
            <a:extLst>
              <a:ext uri="{FF2B5EF4-FFF2-40B4-BE49-F238E27FC236}">
                <a16:creationId xmlns:a16="http://schemas.microsoft.com/office/drawing/2014/main" id="{F6E25123-AAF9-4E3E-9ACB-016CDEAE036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190673" y="6518477"/>
            <a:ext cx="209737" cy="240601"/>
          </a:xfrm>
          <a:prstGeom prst="rect">
            <a:avLst/>
          </a:prstGeom>
        </p:spPr>
      </p:pic>
      <p:pic>
        <p:nvPicPr>
          <p:cNvPr id="35" name="Gráfico 34" descr="Bombilla y equipo">
            <a:hlinkClick r:id="" action="ppaction://noaction"/>
            <a:extLst>
              <a:ext uri="{FF2B5EF4-FFF2-40B4-BE49-F238E27FC236}">
                <a16:creationId xmlns:a16="http://schemas.microsoft.com/office/drawing/2014/main" id="{9F3D28A6-38C8-4A61-BAA2-863F67C26A42}"/>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944737" y="6547689"/>
            <a:ext cx="209737" cy="195908"/>
          </a:xfrm>
          <a:prstGeom prst="rect">
            <a:avLst/>
          </a:prstGeom>
        </p:spPr>
      </p:pic>
      <p:pic>
        <p:nvPicPr>
          <p:cNvPr id="36" name="Gráfico 35" descr="Repetir">
            <a:hlinkClick r:id="" action="ppaction://noaction"/>
            <a:extLst>
              <a:ext uri="{FF2B5EF4-FFF2-40B4-BE49-F238E27FC236}">
                <a16:creationId xmlns:a16="http://schemas.microsoft.com/office/drawing/2014/main" id="{75621F18-ED13-4A9F-80B1-C29F37C619B8}"/>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0673612" y="6530871"/>
            <a:ext cx="220767" cy="231805"/>
          </a:xfrm>
          <a:prstGeom prst="rect">
            <a:avLst/>
          </a:prstGeom>
        </p:spPr>
      </p:pic>
      <p:pic>
        <p:nvPicPr>
          <p:cNvPr id="39" name="Gráfico 38" descr="Discurso">
            <a:hlinkClick r:id="rId11" action="ppaction://hlinksldjump" tooltip="Customer stories"/>
            <a:extLst>
              <a:ext uri="{FF2B5EF4-FFF2-40B4-BE49-F238E27FC236}">
                <a16:creationId xmlns:a16="http://schemas.microsoft.com/office/drawing/2014/main" id="{B4B4CDEB-2635-4E47-A917-C392D2784B3F}"/>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11764597" y="6530871"/>
            <a:ext cx="246492" cy="275455"/>
          </a:xfrm>
          <a:prstGeom prst="rect">
            <a:avLst/>
          </a:prstGeom>
        </p:spPr>
      </p:pic>
      <p:pic>
        <p:nvPicPr>
          <p:cNvPr id="42" name="Gráfico 41" descr="Diseño web">
            <a:hlinkClick r:id="" action="ppaction://noaction"/>
            <a:extLst>
              <a:ext uri="{FF2B5EF4-FFF2-40B4-BE49-F238E27FC236}">
                <a16:creationId xmlns:a16="http://schemas.microsoft.com/office/drawing/2014/main" id="{65BAA8DD-EDF4-4D57-9C3E-140EA2198AB7}"/>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11458905" y="6524323"/>
            <a:ext cx="247197" cy="247197"/>
          </a:xfrm>
          <a:prstGeom prst="rect">
            <a:avLst/>
          </a:prstGeom>
        </p:spPr>
      </p:pic>
      <p:grpSp>
        <p:nvGrpSpPr>
          <p:cNvPr id="45" name="Grupo 44">
            <a:extLst>
              <a:ext uri="{FF2B5EF4-FFF2-40B4-BE49-F238E27FC236}">
                <a16:creationId xmlns:a16="http://schemas.microsoft.com/office/drawing/2014/main" id="{DA7ECECE-D71B-463F-AD1F-D881257D8DA4}"/>
              </a:ext>
            </a:extLst>
          </p:cNvPr>
          <p:cNvGrpSpPr/>
          <p:nvPr userDrawn="1"/>
        </p:nvGrpSpPr>
        <p:grpSpPr>
          <a:xfrm>
            <a:off x="9435352" y="4830608"/>
            <a:ext cx="2147152" cy="1469334"/>
            <a:chOff x="10488487" y="215003"/>
            <a:chExt cx="1422239" cy="682410"/>
          </a:xfrm>
        </p:grpSpPr>
        <p:sp>
          <p:nvSpPr>
            <p:cNvPr id="46" name="Forma libre 68">
              <a:extLst>
                <a:ext uri="{FF2B5EF4-FFF2-40B4-BE49-F238E27FC236}">
                  <a16:creationId xmlns:a16="http://schemas.microsoft.com/office/drawing/2014/main" id="{C5110CE5-F17D-47DD-A92E-34A98005AEF6}"/>
                </a:ext>
              </a:extLst>
            </p:cNvPr>
            <p:cNvSpPr/>
            <p:nvPr/>
          </p:nvSpPr>
          <p:spPr>
            <a:xfrm>
              <a:off x="11626523" y="215003"/>
              <a:ext cx="284203" cy="266007"/>
            </a:xfrm>
            <a:custGeom>
              <a:avLst/>
              <a:gdLst>
                <a:gd name="connsiteX0" fmla="*/ 0 w 324197"/>
                <a:gd name="connsiteY0" fmla="*/ 0 h 266007"/>
                <a:gd name="connsiteX1" fmla="*/ 324197 w 324197"/>
                <a:gd name="connsiteY1" fmla="*/ 0 h 266007"/>
                <a:gd name="connsiteX2" fmla="*/ 324197 w 324197"/>
                <a:gd name="connsiteY2" fmla="*/ 266007 h 266007"/>
              </a:gdLst>
              <a:ahLst/>
              <a:cxnLst>
                <a:cxn ang="0">
                  <a:pos x="connsiteX0" y="connsiteY0"/>
                </a:cxn>
                <a:cxn ang="0">
                  <a:pos x="connsiteX1" y="connsiteY1"/>
                </a:cxn>
                <a:cxn ang="0">
                  <a:pos x="connsiteX2" y="connsiteY2"/>
                </a:cxn>
              </a:cxnLst>
              <a:rect l="l" t="t" r="r" b="b"/>
              <a:pathLst>
                <a:path w="324197" h="266007">
                  <a:moveTo>
                    <a:pt x="0" y="0"/>
                  </a:moveTo>
                  <a:lnTo>
                    <a:pt x="324197" y="0"/>
                  </a:lnTo>
                  <a:lnTo>
                    <a:pt x="324197" y="266007"/>
                  </a:lnTo>
                </a:path>
              </a:pathLst>
            </a:cu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800"/>
            </a:p>
          </p:txBody>
        </p:sp>
        <p:sp>
          <p:nvSpPr>
            <p:cNvPr id="47" name="Forma libre 69">
              <a:extLst>
                <a:ext uri="{FF2B5EF4-FFF2-40B4-BE49-F238E27FC236}">
                  <a16:creationId xmlns:a16="http://schemas.microsoft.com/office/drawing/2014/main" id="{7EDAEA1A-D96A-4951-B6E9-7ADF98EEA680}"/>
                </a:ext>
              </a:extLst>
            </p:cNvPr>
            <p:cNvSpPr/>
            <p:nvPr/>
          </p:nvSpPr>
          <p:spPr>
            <a:xfrm flipH="1">
              <a:off x="10488488" y="218803"/>
              <a:ext cx="284203" cy="266007"/>
            </a:xfrm>
            <a:custGeom>
              <a:avLst/>
              <a:gdLst>
                <a:gd name="connsiteX0" fmla="*/ 0 w 324197"/>
                <a:gd name="connsiteY0" fmla="*/ 0 h 266007"/>
                <a:gd name="connsiteX1" fmla="*/ 324197 w 324197"/>
                <a:gd name="connsiteY1" fmla="*/ 0 h 266007"/>
                <a:gd name="connsiteX2" fmla="*/ 324197 w 324197"/>
                <a:gd name="connsiteY2" fmla="*/ 266007 h 266007"/>
              </a:gdLst>
              <a:ahLst/>
              <a:cxnLst>
                <a:cxn ang="0">
                  <a:pos x="connsiteX0" y="connsiteY0"/>
                </a:cxn>
                <a:cxn ang="0">
                  <a:pos x="connsiteX1" y="connsiteY1"/>
                </a:cxn>
                <a:cxn ang="0">
                  <a:pos x="connsiteX2" y="connsiteY2"/>
                </a:cxn>
              </a:cxnLst>
              <a:rect l="l" t="t" r="r" b="b"/>
              <a:pathLst>
                <a:path w="324197" h="266007">
                  <a:moveTo>
                    <a:pt x="0" y="0"/>
                  </a:moveTo>
                  <a:lnTo>
                    <a:pt x="324197" y="0"/>
                  </a:lnTo>
                  <a:lnTo>
                    <a:pt x="324197" y="266007"/>
                  </a:lnTo>
                </a:path>
              </a:pathLst>
            </a:cu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800"/>
            </a:p>
          </p:txBody>
        </p:sp>
        <p:sp>
          <p:nvSpPr>
            <p:cNvPr id="48" name="Forma libre 70">
              <a:extLst>
                <a:ext uri="{FF2B5EF4-FFF2-40B4-BE49-F238E27FC236}">
                  <a16:creationId xmlns:a16="http://schemas.microsoft.com/office/drawing/2014/main" id="{5683823D-2399-4137-94F8-792CF84BFE7B}"/>
                </a:ext>
              </a:extLst>
            </p:cNvPr>
            <p:cNvSpPr/>
            <p:nvPr/>
          </p:nvSpPr>
          <p:spPr>
            <a:xfrm flipH="1" flipV="1">
              <a:off x="10488487" y="588404"/>
              <a:ext cx="284204" cy="307805"/>
            </a:xfrm>
            <a:custGeom>
              <a:avLst/>
              <a:gdLst>
                <a:gd name="connsiteX0" fmla="*/ 0 w 324197"/>
                <a:gd name="connsiteY0" fmla="*/ 0 h 266007"/>
                <a:gd name="connsiteX1" fmla="*/ 324197 w 324197"/>
                <a:gd name="connsiteY1" fmla="*/ 0 h 266007"/>
                <a:gd name="connsiteX2" fmla="*/ 324197 w 324197"/>
                <a:gd name="connsiteY2" fmla="*/ 266007 h 266007"/>
              </a:gdLst>
              <a:ahLst/>
              <a:cxnLst>
                <a:cxn ang="0">
                  <a:pos x="connsiteX0" y="connsiteY0"/>
                </a:cxn>
                <a:cxn ang="0">
                  <a:pos x="connsiteX1" y="connsiteY1"/>
                </a:cxn>
                <a:cxn ang="0">
                  <a:pos x="connsiteX2" y="connsiteY2"/>
                </a:cxn>
              </a:cxnLst>
              <a:rect l="l" t="t" r="r" b="b"/>
              <a:pathLst>
                <a:path w="324197" h="266007">
                  <a:moveTo>
                    <a:pt x="0" y="0"/>
                  </a:moveTo>
                  <a:lnTo>
                    <a:pt x="324197" y="0"/>
                  </a:lnTo>
                  <a:lnTo>
                    <a:pt x="324197" y="266007"/>
                  </a:lnTo>
                </a:path>
              </a:pathLst>
            </a:cu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800"/>
            </a:p>
          </p:txBody>
        </p:sp>
        <p:sp>
          <p:nvSpPr>
            <p:cNvPr id="49" name="Forma libre 71">
              <a:extLst>
                <a:ext uri="{FF2B5EF4-FFF2-40B4-BE49-F238E27FC236}">
                  <a16:creationId xmlns:a16="http://schemas.microsoft.com/office/drawing/2014/main" id="{56ABFE81-255D-4595-B5B7-BC50D50E0A9C}"/>
                </a:ext>
              </a:extLst>
            </p:cNvPr>
            <p:cNvSpPr/>
            <p:nvPr/>
          </p:nvSpPr>
          <p:spPr>
            <a:xfrm flipV="1">
              <a:off x="11626522" y="589608"/>
              <a:ext cx="284203" cy="307805"/>
            </a:xfrm>
            <a:custGeom>
              <a:avLst/>
              <a:gdLst>
                <a:gd name="connsiteX0" fmla="*/ 0 w 324197"/>
                <a:gd name="connsiteY0" fmla="*/ 0 h 266007"/>
                <a:gd name="connsiteX1" fmla="*/ 324197 w 324197"/>
                <a:gd name="connsiteY1" fmla="*/ 0 h 266007"/>
                <a:gd name="connsiteX2" fmla="*/ 324197 w 324197"/>
                <a:gd name="connsiteY2" fmla="*/ 266007 h 266007"/>
              </a:gdLst>
              <a:ahLst/>
              <a:cxnLst>
                <a:cxn ang="0">
                  <a:pos x="connsiteX0" y="connsiteY0"/>
                </a:cxn>
                <a:cxn ang="0">
                  <a:pos x="connsiteX1" y="connsiteY1"/>
                </a:cxn>
                <a:cxn ang="0">
                  <a:pos x="connsiteX2" y="connsiteY2"/>
                </a:cxn>
              </a:cxnLst>
              <a:rect l="l" t="t" r="r" b="b"/>
              <a:pathLst>
                <a:path w="324197" h="266007">
                  <a:moveTo>
                    <a:pt x="0" y="0"/>
                  </a:moveTo>
                  <a:lnTo>
                    <a:pt x="324197" y="0"/>
                  </a:lnTo>
                  <a:lnTo>
                    <a:pt x="324197" y="266007"/>
                  </a:lnTo>
                </a:path>
              </a:pathLst>
            </a:cu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800"/>
            </a:p>
          </p:txBody>
        </p:sp>
      </p:grpSp>
    </p:spTree>
    <p:extLst>
      <p:ext uri="{BB962C8B-B14F-4D97-AF65-F5344CB8AC3E}">
        <p14:creationId xmlns:p14="http://schemas.microsoft.com/office/powerpoint/2010/main" val="39909962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 content - purple data back">
    <p:bg>
      <p:bgPr>
        <a:solidFill>
          <a:srgbClr val="2B0A3D"/>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C0BE8A0-137A-4D56-BA22-BFEBC807C580}"/>
              </a:ext>
            </a:extLst>
          </p:cNvPr>
          <p:cNvSpPr/>
          <p:nvPr userDrawn="1"/>
        </p:nvSpPr>
        <p:spPr>
          <a:xfrm>
            <a:off x="7599651" y="3326594"/>
            <a:ext cx="4592349" cy="3531406"/>
          </a:xfrm>
          <a:prstGeom prst="rect">
            <a:avLst/>
          </a:prstGeom>
          <a:blipFill dpi="0" rotWithShape="1">
            <a:blip r:embed="rId3">
              <a:alphaModFix amt="20000"/>
            </a:blip>
            <a:srcRect/>
            <a:stretch>
              <a:fillRect l="-8354" r="-3390" b="-1116"/>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endParaRPr>
          </a:p>
        </p:txBody>
      </p:sp>
      <p:sp>
        <p:nvSpPr>
          <p:cNvPr id="6" name="Rectangle 5">
            <a:extLst>
              <a:ext uri="{FF2B5EF4-FFF2-40B4-BE49-F238E27FC236}">
                <a16:creationId xmlns:a16="http://schemas.microsoft.com/office/drawing/2014/main" id="{892DF79B-4FEC-424D-AB74-EE62225A3C52}"/>
              </a:ext>
            </a:extLst>
          </p:cNvPr>
          <p:cNvSpPr/>
          <p:nvPr userDrawn="1"/>
        </p:nvSpPr>
        <p:spPr>
          <a:xfrm rot="10800000">
            <a:off x="-1" y="1305"/>
            <a:ext cx="4592349" cy="3570802"/>
          </a:xfrm>
          <a:prstGeom prst="rect">
            <a:avLst/>
          </a:prstGeom>
          <a:blipFill dpi="0" rotWithShape="1">
            <a:blip r:embed="rId3">
              <a:alphaModFix amt="20000"/>
            </a:blip>
            <a:srcRect/>
            <a:stretch>
              <a:fillRect l="6854" t="12804" r="-18599" b="-1280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endParaRPr>
          </a:p>
        </p:txBody>
      </p:sp>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07988" y="252000"/>
            <a:ext cx="11403012" cy="900000"/>
          </a:xfrm>
        </p:spPr>
        <p:txBody>
          <a:bodyPr vert="horz" lIns="0" tIns="0" rIns="0" bIns="0" rtlCol="0" anchor="ctr" anchorCtr="0">
            <a:noAutofit/>
          </a:bodyPr>
          <a:lstStyle>
            <a:lvl1pPr>
              <a:defRPr lang="en-GB" sz="3000" dirty="0">
                <a:solidFill>
                  <a:schemeClr val="bg1"/>
                </a:solidFill>
                <a:latin typeface="Ubuntu" panose="020B0504030602030204" pitchFamily="34" charset="0"/>
              </a:defRPr>
            </a:lvl1pPr>
          </a:lstStyle>
          <a:p>
            <a:pPr marL="0" lvl="0"/>
            <a:r>
              <a:rPr lang="en-US"/>
              <a:t>Click to edit Master title style</a:t>
            </a:r>
            <a:endParaRPr lang="en-GB"/>
          </a:p>
        </p:txBody>
      </p:sp>
      <p:sp>
        <p:nvSpPr>
          <p:cNvPr id="7" name="Text Placeholder 3">
            <a:extLst>
              <a:ext uri="{FF2B5EF4-FFF2-40B4-BE49-F238E27FC236}">
                <a16:creationId xmlns:a16="http://schemas.microsoft.com/office/drawing/2014/main" id="{A6AB612F-C844-4696-898B-38170FF91F4C}"/>
              </a:ext>
            </a:extLst>
          </p:cNvPr>
          <p:cNvSpPr>
            <a:spLocks noGrp="1"/>
          </p:cNvSpPr>
          <p:nvPr>
            <p:ph type="body" sz="quarter" idx="10"/>
          </p:nvPr>
        </p:nvSpPr>
        <p:spPr>
          <a:xfrm>
            <a:off x="407988" y="1368781"/>
            <a:ext cx="11403012" cy="4876800"/>
          </a:xfrm>
        </p:spPr>
        <p:txBody>
          <a:bodyPr tIns="36000">
            <a:noAutofit/>
          </a:bodyPr>
          <a:lstStyle>
            <a:lvl1pPr>
              <a:defRPr spc="-20" baseline="0">
                <a:solidFill>
                  <a:schemeClr val="bg1"/>
                </a:solidFill>
              </a:defRPr>
            </a:lvl1pPr>
            <a:lvl2pPr>
              <a:defRPr spc="-20" baseline="0">
                <a:solidFill>
                  <a:schemeClr val="bg1"/>
                </a:solidFill>
              </a:defRPr>
            </a:lvl2pPr>
            <a:lvl3pPr>
              <a:defRPr spc="-20" baseline="0">
                <a:solidFill>
                  <a:schemeClr val="bg1"/>
                </a:solidFill>
              </a:defRPr>
            </a:lvl3pPr>
            <a:lvl4pPr>
              <a:defRPr spc="-20" baseline="0">
                <a:solidFill>
                  <a:schemeClr val="bg1"/>
                </a:solidFill>
              </a:defRPr>
            </a:lvl4pPr>
            <a:lvl5pPr marL="1076325" indent="-228600">
              <a:defRPr spc="-2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25552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with Shapes 1 - Red">
    <p:bg>
      <p:bgRef idx="1001">
        <a:schemeClr val="bg1"/>
      </p:bgRef>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7" y="252000"/>
            <a:ext cx="11376025" cy="900000"/>
          </a:xfrm>
          <a:prstGeom prst="rect">
            <a:avLst/>
          </a:prstGeom>
        </p:spPr>
        <p:txBody>
          <a:bodyPr vert="horz" lIns="0" tIns="0" rIns="0" bIns="0" rtlCol="0" anchor="ctr" anchorCtr="0">
            <a:normAutofit/>
          </a:bodyPr>
          <a:lstStyle>
            <a:lvl1pPr>
              <a:defRPr lang="pt-PT" dirty="0"/>
            </a:lvl1pPr>
          </a:lstStyle>
          <a:p>
            <a:pPr lvl="0">
              <a:lnSpc>
                <a:spcPct val="88000"/>
              </a:lnSpc>
            </a:pPr>
            <a:r>
              <a:rPr lang="en-US"/>
              <a:t>Click to add title</a:t>
            </a:r>
            <a:endParaRPr lang="pt-PT"/>
          </a:p>
        </p:txBody>
      </p:sp>
      <p:grpSp>
        <p:nvGrpSpPr>
          <p:cNvPr id="31" name="Group 30"/>
          <p:cNvGrpSpPr/>
          <p:nvPr userDrawn="1"/>
        </p:nvGrpSpPr>
        <p:grpSpPr>
          <a:xfrm>
            <a:off x="407988" y="2118167"/>
            <a:ext cx="11376025" cy="2683397"/>
            <a:chOff x="407988" y="3962400"/>
            <a:chExt cx="11124255" cy="2286000"/>
          </a:xfrm>
          <a:solidFill>
            <a:schemeClr val="bg2"/>
          </a:solidFill>
        </p:grpSpPr>
        <p:sp>
          <p:nvSpPr>
            <p:cNvPr id="32" name="Rectangle 31"/>
            <p:cNvSpPr/>
            <p:nvPr userDrawn="1"/>
          </p:nvSpPr>
          <p:spPr>
            <a:xfrm>
              <a:off x="407988"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3" name="Rectangle 32"/>
            <p:cNvSpPr/>
            <p:nvPr userDrawn="1"/>
          </p:nvSpPr>
          <p:spPr>
            <a:xfrm>
              <a:off x="4192909"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4" name="Rectangle 33"/>
            <p:cNvSpPr/>
            <p:nvPr userDrawn="1"/>
          </p:nvSpPr>
          <p:spPr>
            <a:xfrm>
              <a:off x="7977831"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grpSp>
      <p:sp>
        <p:nvSpPr>
          <p:cNvPr id="41" name="Rectangle 40"/>
          <p:cNvSpPr/>
          <p:nvPr userDrawn="1"/>
        </p:nvSpPr>
        <p:spPr bwMode="gray">
          <a:xfrm>
            <a:off x="407988" y="4020686"/>
            <a:ext cx="3634857" cy="2322242"/>
          </a:xfrm>
          <a:prstGeom prst="rect">
            <a:avLst/>
          </a:prstGeom>
          <a:solidFill>
            <a:srgbClr val="F13F5E"/>
          </a:solidFill>
          <a:ln>
            <a:noFill/>
          </a:ln>
          <a:effectLst>
            <a:outerShdw dist="1016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180000" rIns="216000" bIns="108000" numCol="1" spcCol="0" rtlCol="0" fromWordArt="0" anchor="t" anchorCtr="0" forceAA="0" compatLnSpc="1">
            <a:prstTxWarp prst="textNoShape">
              <a:avLst/>
            </a:prstTxWarp>
            <a:noAutofit/>
          </a:bodyPr>
          <a:lstStyle/>
          <a:p>
            <a:pPr lvl="0">
              <a:lnSpc>
                <a:spcPct val="90000"/>
              </a:lnSpc>
              <a:spcAft>
                <a:spcPts val="1500"/>
              </a:spcAft>
              <a:tabLst>
                <a:tab pos="2151063" algn="l"/>
              </a:tabLst>
            </a:pPr>
            <a:endParaRPr lang="en-US" sz="2100" spc="-20">
              <a:solidFill>
                <a:schemeClr val="bg1"/>
              </a:solidFill>
              <a:latin typeface="Ubuntu" panose="020B0604020202020204" charset="0"/>
            </a:endParaRPr>
          </a:p>
        </p:txBody>
      </p:sp>
      <p:sp>
        <p:nvSpPr>
          <p:cNvPr id="42" name="Rectangle 41"/>
          <p:cNvSpPr/>
          <p:nvPr userDrawn="1"/>
        </p:nvSpPr>
        <p:spPr bwMode="gray">
          <a:xfrm>
            <a:off x="4278571" y="4020686"/>
            <a:ext cx="3634857" cy="2322242"/>
          </a:xfrm>
          <a:prstGeom prst="rect">
            <a:avLst/>
          </a:prstGeom>
          <a:solidFill>
            <a:srgbClr val="F13F5E"/>
          </a:solidFill>
          <a:ln>
            <a:noFill/>
          </a:ln>
          <a:effectLst>
            <a:outerShdw dist="1016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180000" rIns="216000" bIns="108000" numCol="1" spcCol="0" rtlCol="0" fromWordArt="0" anchor="t" anchorCtr="0" forceAA="0" compatLnSpc="1">
            <a:prstTxWarp prst="textNoShape">
              <a:avLst/>
            </a:prstTxWarp>
            <a:noAutofit/>
          </a:bodyPr>
          <a:lstStyle/>
          <a:p>
            <a:pPr lvl="0">
              <a:lnSpc>
                <a:spcPct val="90000"/>
              </a:lnSpc>
              <a:spcAft>
                <a:spcPts val="1500"/>
              </a:spcAft>
              <a:tabLst>
                <a:tab pos="2151063" algn="l"/>
              </a:tabLst>
            </a:pPr>
            <a:endParaRPr lang="en-US" sz="2100" spc="-20">
              <a:solidFill>
                <a:schemeClr val="bg1"/>
              </a:solidFill>
              <a:latin typeface="Ubuntu" panose="020B0604020202020204" charset="0"/>
            </a:endParaRPr>
          </a:p>
        </p:txBody>
      </p:sp>
      <p:sp>
        <p:nvSpPr>
          <p:cNvPr id="43" name="Rectangle 42"/>
          <p:cNvSpPr/>
          <p:nvPr userDrawn="1"/>
        </p:nvSpPr>
        <p:spPr bwMode="gray">
          <a:xfrm>
            <a:off x="8149156" y="4020686"/>
            <a:ext cx="3634857" cy="2322242"/>
          </a:xfrm>
          <a:prstGeom prst="rect">
            <a:avLst/>
          </a:prstGeom>
          <a:solidFill>
            <a:srgbClr val="F13F5E"/>
          </a:solidFill>
          <a:ln>
            <a:noFill/>
          </a:ln>
          <a:effectLst>
            <a:outerShdw dist="1016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180000" rIns="216000" bIns="108000" numCol="1" spcCol="0" rtlCol="0" fromWordArt="0" anchor="t" anchorCtr="0" forceAA="0" compatLnSpc="1">
            <a:prstTxWarp prst="textNoShape">
              <a:avLst/>
            </a:prstTxWarp>
            <a:noAutofit/>
          </a:bodyPr>
          <a:lstStyle/>
          <a:p>
            <a:pPr lvl="0">
              <a:lnSpc>
                <a:spcPct val="90000"/>
              </a:lnSpc>
              <a:spcAft>
                <a:spcPts val="1500"/>
              </a:spcAft>
              <a:tabLst>
                <a:tab pos="2151063" algn="l"/>
              </a:tabLst>
            </a:pPr>
            <a:endParaRPr lang="en-US" sz="2100" spc="-20">
              <a:solidFill>
                <a:schemeClr val="bg1"/>
              </a:solidFill>
              <a:latin typeface="Ubuntu" panose="020B0604020202020204" charset="0"/>
            </a:endParaRPr>
          </a:p>
        </p:txBody>
      </p:sp>
      <p:grpSp>
        <p:nvGrpSpPr>
          <p:cNvPr id="44" name="Group 43"/>
          <p:cNvGrpSpPr/>
          <p:nvPr userDrawn="1"/>
        </p:nvGrpSpPr>
        <p:grpSpPr>
          <a:xfrm>
            <a:off x="8373319" y="3927105"/>
            <a:ext cx="1060048" cy="656220"/>
            <a:chOff x="402908" y="4604216"/>
            <a:chExt cx="920734" cy="569978"/>
          </a:xfrm>
        </p:grpSpPr>
        <p:pic>
          <p:nvPicPr>
            <p:cNvPr id="45" name="Picture 4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46" name="TextBox 45"/>
            <p:cNvSpPr txBox="1"/>
            <p:nvPr/>
          </p:nvSpPr>
          <p:spPr>
            <a:xfrm>
              <a:off x="588264" y="4685498"/>
              <a:ext cx="477849" cy="347527"/>
            </a:xfrm>
            <a:prstGeom prst="rect">
              <a:avLst/>
            </a:prstGeom>
            <a:noFill/>
          </p:spPr>
          <p:txBody>
            <a:bodyPr wrap="none" rtlCol="0">
              <a:spAutoFit/>
            </a:bodyPr>
            <a:lstStyle/>
            <a:p>
              <a:r>
                <a:rPr lang="en-US" sz="2000" b="1">
                  <a:solidFill>
                    <a:schemeClr val="accent1"/>
                  </a:solidFill>
                </a:rPr>
                <a:t>03</a:t>
              </a:r>
            </a:p>
          </p:txBody>
        </p:sp>
      </p:grpSp>
      <p:grpSp>
        <p:nvGrpSpPr>
          <p:cNvPr id="47" name="Group 46"/>
          <p:cNvGrpSpPr/>
          <p:nvPr userDrawn="1"/>
        </p:nvGrpSpPr>
        <p:grpSpPr>
          <a:xfrm>
            <a:off x="4391628" y="3927105"/>
            <a:ext cx="1060048" cy="656220"/>
            <a:chOff x="402908" y="4604216"/>
            <a:chExt cx="920734" cy="569978"/>
          </a:xfrm>
        </p:grpSpPr>
        <p:pic>
          <p:nvPicPr>
            <p:cNvPr id="49" name="Picture 4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53" name="TextBox 52"/>
            <p:cNvSpPr txBox="1"/>
            <p:nvPr/>
          </p:nvSpPr>
          <p:spPr>
            <a:xfrm>
              <a:off x="588264" y="4685498"/>
              <a:ext cx="477849" cy="347527"/>
            </a:xfrm>
            <a:prstGeom prst="rect">
              <a:avLst/>
            </a:prstGeom>
            <a:noFill/>
          </p:spPr>
          <p:txBody>
            <a:bodyPr wrap="none" rtlCol="0">
              <a:spAutoFit/>
            </a:bodyPr>
            <a:lstStyle/>
            <a:p>
              <a:r>
                <a:rPr lang="en-US" sz="2000" b="1">
                  <a:solidFill>
                    <a:schemeClr val="accent1"/>
                  </a:solidFill>
                </a:rPr>
                <a:t>02</a:t>
              </a:r>
            </a:p>
          </p:txBody>
        </p:sp>
      </p:grpSp>
      <p:grpSp>
        <p:nvGrpSpPr>
          <p:cNvPr id="54" name="Group 53"/>
          <p:cNvGrpSpPr/>
          <p:nvPr userDrawn="1"/>
        </p:nvGrpSpPr>
        <p:grpSpPr>
          <a:xfrm>
            <a:off x="617317" y="3927105"/>
            <a:ext cx="1060048" cy="656220"/>
            <a:chOff x="402908" y="4604216"/>
            <a:chExt cx="920734" cy="569978"/>
          </a:xfrm>
        </p:grpSpPr>
        <p:pic>
          <p:nvPicPr>
            <p:cNvPr id="55" name="Picture 5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56" name="TextBox 55"/>
            <p:cNvSpPr txBox="1"/>
            <p:nvPr/>
          </p:nvSpPr>
          <p:spPr>
            <a:xfrm>
              <a:off x="588264" y="4685498"/>
              <a:ext cx="477849" cy="347527"/>
            </a:xfrm>
            <a:prstGeom prst="rect">
              <a:avLst/>
            </a:prstGeom>
            <a:noFill/>
          </p:spPr>
          <p:txBody>
            <a:bodyPr wrap="none" rtlCol="0">
              <a:spAutoFit/>
            </a:bodyPr>
            <a:lstStyle/>
            <a:p>
              <a:r>
                <a:rPr lang="en-US" sz="2000" b="1">
                  <a:solidFill>
                    <a:schemeClr val="accent1"/>
                  </a:solidFill>
                </a:rPr>
                <a:t>01</a:t>
              </a:r>
            </a:p>
          </p:txBody>
        </p:sp>
      </p:grpSp>
      <p:pic>
        <p:nvPicPr>
          <p:cNvPr id="57" name="Picture 5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67741" y="1862571"/>
            <a:ext cx="3193059" cy="1978701"/>
          </a:xfrm>
          <a:prstGeom prst="rect">
            <a:avLst/>
          </a:prstGeom>
        </p:spPr>
      </p:pic>
      <p:pic>
        <p:nvPicPr>
          <p:cNvPr id="58" name="Picture 5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1384726" y="1360456"/>
            <a:ext cx="1694139" cy="1933432"/>
          </a:xfrm>
          <a:prstGeom prst="rect">
            <a:avLst/>
          </a:prstGeom>
        </p:spPr>
      </p:pic>
      <p:pic>
        <p:nvPicPr>
          <p:cNvPr id="59" name="Picture 5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28541" y="1862571"/>
            <a:ext cx="3193059" cy="1978701"/>
          </a:xfrm>
          <a:prstGeom prst="rect">
            <a:avLst/>
          </a:prstGeom>
        </p:spPr>
      </p:pic>
      <p:pic>
        <p:nvPicPr>
          <p:cNvPr id="60" name="Picture 59"/>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156701" y="1395468"/>
            <a:ext cx="2168659" cy="2008131"/>
          </a:xfrm>
          <a:prstGeom prst="rect">
            <a:avLst/>
          </a:prstGeom>
        </p:spPr>
      </p:pic>
      <p:pic>
        <p:nvPicPr>
          <p:cNvPr id="61" name="Picture 6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328381" y="1862571"/>
            <a:ext cx="3193059" cy="1978701"/>
          </a:xfrm>
          <a:prstGeom prst="rect">
            <a:avLst/>
          </a:prstGeom>
        </p:spPr>
      </p:pic>
      <p:pic>
        <p:nvPicPr>
          <p:cNvPr id="62" name="Picture 6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8976360" y="1578863"/>
            <a:ext cx="1996972" cy="1727697"/>
          </a:xfrm>
          <a:prstGeom prst="rect">
            <a:avLst/>
          </a:prstGeom>
        </p:spPr>
      </p:pic>
      <p:sp>
        <p:nvSpPr>
          <p:cNvPr id="36" name="Text Placeholder 7">
            <a:extLst>
              <a:ext uri="{FF2B5EF4-FFF2-40B4-BE49-F238E27FC236}">
                <a16:creationId xmlns:a16="http://schemas.microsoft.com/office/drawing/2014/main" id="{4E956B68-B273-4648-AC4B-C9A05A745160}"/>
              </a:ext>
            </a:extLst>
          </p:cNvPr>
          <p:cNvSpPr>
            <a:spLocks noGrp="1"/>
          </p:cNvSpPr>
          <p:nvPr userDrawn="1">
            <p:ph type="body" sz="quarter" idx="32" hasCustomPrompt="1"/>
          </p:nvPr>
        </p:nvSpPr>
        <p:spPr bwMode="white">
          <a:xfrm>
            <a:off x="54843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37" name="Text Placeholder 7">
            <a:extLst>
              <a:ext uri="{FF2B5EF4-FFF2-40B4-BE49-F238E27FC236}">
                <a16:creationId xmlns:a16="http://schemas.microsoft.com/office/drawing/2014/main" id="{4E956B68-B273-4648-AC4B-C9A05A745160}"/>
              </a:ext>
            </a:extLst>
          </p:cNvPr>
          <p:cNvSpPr>
            <a:spLocks noGrp="1"/>
          </p:cNvSpPr>
          <p:nvPr userDrawn="1">
            <p:ph type="body" sz="quarter" idx="33" hasCustomPrompt="1"/>
          </p:nvPr>
        </p:nvSpPr>
        <p:spPr bwMode="white">
          <a:xfrm>
            <a:off x="439907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38" name="Text Placeholder 7">
            <a:extLst>
              <a:ext uri="{FF2B5EF4-FFF2-40B4-BE49-F238E27FC236}">
                <a16:creationId xmlns:a16="http://schemas.microsoft.com/office/drawing/2014/main" id="{4E956B68-B273-4648-AC4B-C9A05A745160}"/>
              </a:ext>
            </a:extLst>
          </p:cNvPr>
          <p:cNvSpPr>
            <a:spLocks noGrp="1"/>
          </p:cNvSpPr>
          <p:nvPr userDrawn="1">
            <p:ph type="body" sz="quarter" idx="34" hasCustomPrompt="1"/>
          </p:nvPr>
        </p:nvSpPr>
        <p:spPr bwMode="white">
          <a:xfrm>
            <a:off x="825987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Tree>
    <p:extLst>
      <p:ext uri="{BB962C8B-B14F-4D97-AF65-F5344CB8AC3E}">
        <p14:creationId xmlns:p14="http://schemas.microsoft.com/office/powerpoint/2010/main" val="1862052745"/>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with Shapes 1 - Blue">
    <p:bg>
      <p:bgRef idx="1001">
        <a:schemeClr val="bg1"/>
      </p:bgRef>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7" y="252000"/>
            <a:ext cx="11376025" cy="900000"/>
          </a:xfrm>
          <a:prstGeom prst="rect">
            <a:avLst/>
          </a:prstGeom>
        </p:spPr>
        <p:txBody>
          <a:bodyPr vert="horz" lIns="0" tIns="0" rIns="0" bIns="0" rtlCol="0" anchor="ctr" anchorCtr="0">
            <a:normAutofit/>
          </a:bodyPr>
          <a:lstStyle>
            <a:lvl1pPr>
              <a:defRPr lang="pt-PT" dirty="0"/>
            </a:lvl1pPr>
          </a:lstStyle>
          <a:p>
            <a:pPr lvl="0">
              <a:lnSpc>
                <a:spcPct val="88000"/>
              </a:lnSpc>
            </a:pPr>
            <a:r>
              <a:rPr lang="en-US"/>
              <a:t>Click to add title</a:t>
            </a:r>
            <a:endParaRPr lang="pt-PT"/>
          </a:p>
        </p:txBody>
      </p:sp>
      <p:grpSp>
        <p:nvGrpSpPr>
          <p:cNvPr id="31" name="Group 30"/>
          <p:cNvGrpSpPr/>
          <p:nvPr userDrawn="1"/>
        </p:nvGrpSpPr>
        <p:grpSpPr>
          <a:xfrm>
            <a:off x="407988" y="1748311"/>
            <a:ext cx="11376025" cy="2683397"/>
            <a:chOff x="407988" y="3962400"/>
            <a:chExt cx="11124255" cy="2286000"/>
          </a:xfrm>
          <a:solidFill>
            <a:schemeClr val="bg2"/>
          </a:solidFill>
        </p:grpSpPr>
        <p:sp>
          <p:nvSpPr>
            <p:cNvPr id="32" name="Rectangle 31"/>
            <p:cNvSpPr/>
            <p:nvPr userDrawn="1"/>
          </p:nvSpPr>
          <p:spPr>
            <a:xfrm>
              <a:off x="407988"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3" name="Rectangle 32"/>
            <p:cNvSpPr/>
            <p:nvPr userDrawn="1"/>
          </p:nvSpPr>
          <p:spPr>
            <a:xfrm>
              <a:off x="4192909"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4" name="Rectangle 33"/>
            <p:cNvSpPr/>
            <p:nvPr userDrawn="1"/>
          </p:nvSpPr>
          <p:spPr>
            <a:xfrm>
              <a:off x="7977831"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grpSp>
      <p:sp>
        <p:nvSpPr>
          <p:cNvPr id="41" name="Rectangle 40"/>
          <p:cNvSpPr/>
          <p:nvPr userDrawn="1"/>
        </p:nvSpPr>
        <p:spPr bwMode="gray">
          <a:xfrm>
            <a:off x="407988" y="2936704"/>
            <a:ext cx="3634857" cy="3387896"/>
          </a:xfrm>
          <a:prstGeom prst="rect">
            <a:avLst/>
          </a:prstGeom>
          <a:solidFill>
            <a:srgbClr val="12ABDB"/>
          </a:solidFill>
          <a:ln>
            <a:noFill/>
          </a:ln>
          <a:effectLst>
            <a:outerShdw dist="1016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180000" rIns="216000" bIns="108000" numCol="1" spcCol="0" rtlCol="0" fromWordArt="0" anchor="t" anchorCtr="0" forceAA="0" compatLnSpc="1">
            <a:prstTxWarp prst="textNoShape">
              <a:avLst/>
            </a:prstTxWarp>
            <a:noAutofit/>
          </a:bodyPr>
          <a:lstStyle/>
          <a:p>
            <a:pPr lvl="0">
              <a:lnSpc>
                <a:spcPct val="90000"/>
              </a:lnSpc>
              <a:spcAft>
                <a:spcPts val="1500"/>
              </a:spcAft>
              <a:tabLst>
                <a:tab pos="2151063" algn="l"/>
              </a:tabLst>
            </a:pPr>
            <a:endParaRPr lang="en-US" sz="2100" spc="-20">
              <a:solidFill>
                <a:schemeClr val="bg1"/>
              </a:solidFill>
              <a:latin typeface="Ubuntu" panose="020B0604020202020204" charset="0"/>
            </a:endParaRPr>
          </a:p>
        </p:txBody>
      </p:sp>
      <p:sp>
        <p:nvSpPr>
          <p:cNvPr id="42" name="Rectangle 41"/>
          <p:cNvSpPr/>
          <p:nvPr userDrawn="1"/>
        </p:nvSpPr>
        <p:spPr bwMode="gray">
          <a:xfrm>
            <a:off x="4278571" y="2936704"/>
            <a:ext cx="3634857" cy="3387896"/>
          </a:xfrm>
          <a:prstGeom prst="rect">
            <a:avLst/>
          </a:prstGeom>
          <a:solidFill>
            <a:srgbClr val="12ABDB"/>
          </a:solidFill>
          <a:ln>
            <a:noFill/>
          </a:ln>
          <a:effectLst>
            <a:outerShdw dist="1016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180000" rIns="216000" bIns="108000" numCol="1" spcCol="0" rtlCol="0" fromWordArt="0" anchor="t" anchorCtr="0" forceAA="0" compatLnSpc="1">
            <a:prstTxWarp prst="textNoShape">
              <a:avLst/>
            </a:prstTxWarp>
            <a:noAutofit/>
          </a:bodyPr>
          <a:lstStyle/>
          <a:p>
            <a:pPr lvl="0">
              <a:lnSpc>
                <a:spcPct val="90000"/>
              </a:lnSpc>
              <a:spcAft>
                <a:spcPts val="1500"/>
              </a:spcAft>
              <a:tabLst>
                <a:tab pos="2151063" algn="l"/>
              </a:tabLst>
            </a:pPr>
            <a:endParaRPr lang="en-US" sz="2100" spc="-20">
              <a:solidFill>
                <a:schemeClr val="bg1"/>
              </a:solidFill>
              <a:latin typeface="Ubuntu" panose="020B0604020202020204" charset="0"/>
            </a:endParaRPr>
          </a:p>
        </p:txBody>
      </p:sp>
      <p:sp>
        <p:nvSpPr>
          <p:cNvPr id="43" name="Rectangle 42"/>
          <p:cNvSpPr/>
          <p:nvPr userDrawn="1"/>
        </p:nvSpPr>
        <p:spPr bwMode="gray">
          <a:xfrm>
            <a:off x="8149156" y="2936704"/>
            <a:ext cx="3634857" cy="3387896"/>
          </a:xfrm>
          <a:prstGeom prst="rect">
            <a:avLst/>
          </a:prstGeom>
          <a:solidFill>
            <a:srgbClr val="12ABDB"/>
          </a:solidFill>
          <a:ln>
            <a:noFill/>
          </a:ln>
          <a:effectLst>
            <a:outerShdw dist="1016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180000" rIns="216000" bIns="108000" numCol="1" spcCol="0" rtlCol="0" fromWordArt="0" anchor="t" anchorCtr="0" forceAA="0" compatLnSpc="1">
            <a:prstTxWarp prst="textNoShape">
              <a:avLst/>
            </a:prstTxWarp>
            <a:noAutofit/>
          </a:bodyPr>
          <a:lstStyle/>
          <a:p>
            <a:pPr lvl="0">
              <a:lnSpc>
                <a:spcPct val="90000"/>
              </a:lnSpc>
              <a:spcAft>
                <a:spcPts val="1500"/>
              </a:spcAft>
              <a:tabLst>
                <a:tab pos="2151063" algn="l"/>
              </a:tabLst>
            </a:pPr>
            <a:endParaRPr lang="en-US" sz="2100" spc="-20">
              <a:solidFill>
                <a:schemeClr val="bg1"/>
              </a:solidFill>
              <a:latin typeface="Ubuntu" panose="020B0604020202020204" charset="0"/>
            </a:endParaRPr>
          </a:p>
        </p:txBody>
      </p:sp>
      <p:pic>
        <p:nvPicPr>
          <p:cNvPr id="57" name="Picture 5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6242" y="1572345"/>
            <a:ext cx="2936058" cy="1819442"/>
          </a:xfrm>
          <a:prstGeom prst="rect">
            <a:avLst/>
          </a:prstGeom>
        </p:spPr>
      </p:pic>
      <p:pic>
        <p:nvPicPr>
          <p:cNvPr id="58" name="Picture 5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1452903" y="1068408"/>
            <a:ext cx="1557784" cy="1777816"/>
          </a:xfrm>
          <a:prstGeom prst="rect">
            <a:avLst/>
          </a:prstGeom>
        </p:spPr>
      </p:pic>
      <p:pic>
        <p:nvPicPr>
          <p:cNvPr id="59" name="Picture 5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57042" y="1572345"/>
            <a:ext cx="2936058" cy="1819442"/>
          </a:xfrm>
          <a:prstGeom prst="rect">
            <a:avLst/>
          </a:prstGeom>
        </p:spPr>
      </p:pic>
      <p:pic>
        <p:nvPicPr>
          <p:cNvPr id="60" name="Picture 59"/>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243976" y="1106426"/>
            <a:ext cx="1994110" cy="1846504"/>
          </a:xfrm>
          <a:prstGeom prst="rect">
            <a:avLst/>
          </a:prstGeom>
        </p:spPr>
      </p:pic>
      <p:pic>
        <p:nvPicPr>
          <p:cNvPr id="61" name="Picture 6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456882" y="1572345"/>
            <a:ext cx="2936058" cy="1819442"/>
          </a:xfrm>
          <a:prstGeom prst="rect">
            <a:avLst/>
          </a:prstGeom>
        </p:spPr>
      </p:pic>
      <p:pic>
        <p:nvPicPr>
          <p:cNvPr id="62" name="Picture 6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056726" y="1278536"/>
            <a:ext cx="1836240" cy="1588640"/>
          </a:xfrm>
          <a:prstGeom prst="rect">
            <a:avLst/>
          </a:prstGeom>
        </p:spPr>
      </p:pic>
      <p:sp>
        <p:nvSpPr>
          <p:cNvPr id="36" name="Text Placeholder 7">
            <a:extLst>
              <a:ext uri="{FF2B5EF4-FFF2-40B4-BE49-F238E27FC236}">
                <a16:creationId xmlns:a16="http://schemas.microsoft.com/office/drawing/2014/main" id="{4E956B68-B273-4648-AC4B-C9A05A745160}"/>
              </a:ext>
            </a:extLst>
          </p:cNvPr>
          <p:cNvSpPr>
            <a:spLocks noGrp="1"/>
          </p:cNvSpPr>
          <p:nvPr userDrawn="1">
            <p:ph type="body" sz="quarter" idx="32" hasCustomPrompt="1"/>
          </p:nvPr>
        </p:nvSpPr>
        <p:spPr bwMode="white">
          <a:xfrm>
            <a:off x="572882" y="3744944"/>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37" name="Text Placeholder 7">
            <a:extLst>
              <a:ext uri="{FF2B5EF4-FFF2-40B4-BE49-F238E27FC236}">
                <a16:creationId xmlns:a16="http://schemas.microsoft.com/office/drawing/2014/main" id="{4E956B68-B273-4648-AC4B-C9A05A745160}"/>
              </a:ext>
            </a:extLst>
          </p:cNvPr>
          <p:cNvSpPr>
            <a:spLocks noGrp="1"/>
          </p:cNvSpPr>
          <p:nvPr userDrawn="1">
            <p:ph type="body" sz="quarter" idx="33" hasCustomPrompt="1"/>
          </p:nvPr>
        </p:nvSpPr>
        <p:spPr bwMode="white">
          <a:xfrm>
            <a:off x="4423522" y="3744944"/>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38" name="Text Placeholder 7">
            <a:extLst>
              <a:ext uri="{FF2B5EF4-FFF2-40B4-BE49-F238E27FC236}">
                <a16:creationId xmlns:a16="http://schemas.microsoft.com/office/drawing/2014/main" id="{4E956B68-B273-4648-AC4B-C9A05A745160}"/>
              </a:ext>
            </a:extLst>
          </p:cNvPr>
          <p:cNvSpPr>
            <a:spLocks noGrp="1"/>
          </p:cNvSpPr>
          <p:nvPr userDrawn="1">
            <p:ph type="body" sz="quarter" idx="34" hasCustomPrompt="1"/>
          </p:nvPr>
        </p:nvSpPr>
        <p:spPr bwMode="white">
          <a:xfrm>
            <a:off x="8259872" y="3744944"/>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Tree>
    <p:extLst>
      <p:ext uri="{BB962C8B-B14F-4D97-AF65-F5344CB8AC3E}">
        <p14:creationId xmlns:p14="http://schemas.microsoft.com/office/powerpoint/2010/main" val="2268363135"/>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with Shapes 2 - Red">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ltGray">
          <a:xfrm>
            <a:off x="0" y="3886200"/>
            <a:ext cx="9319260" cy="2971800"/>
          </a:xfrm>
          <a:prstGeom prst="rect">
            <a:avLst/>
          </a:prstGeom>
          <a:solidFill>
            <a:schemeClr val="tx1">
              <a:lumMod val="95000"/>
              <a:lumOff val="5000"/>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5" name="Freeform 24"/>
          <p:cNvSpPr/>
          <p:nvPr userDrawn="1"/>
        </p:nvSpPr>
        <p:spPr bwMode="invGray">
          <a:xfrm>
            <a:off x="4876800" y="1502458"/>
            <a:ext cx="7315200" cy="5355542"/>
          </a:xfrm>
          <a:custGeom>
            <a:avLst/>
            <a:gdLst>
              <a:gd name="connsiteX0" fmla="*/ 7071986 w 7071986"/>
              <a:gd name="connsiteY0" fmla="*/ 0 h 5177482"/>
              <a:gd name="connsiteX1" fmla="*/ 7071986 w 7071986"/>
              <a:gd name="connsiteY1" fmla="*/ 5177482 h 5177482"/>
              <a:gd name="connsiteX2" fmla="*/ 418101 w 7071986"/>
              <a:gd name="connsiteY2" fmla="*/ 5177482 h 5177482"/>
              <a:gd name="connsiteX3" fmla="*/ 364654 w 7071986"/>
              <a:gd name="connsiteY3" fmla="*/ 4968325 h 5177482"/>
              <a:gd name="connsiteX4" fmla="*/ 0 w 7071986"/>
              <a:gd name="connsiteY4" fmla="*/ 3541321 h 5177482"/>
              <a:gd name="connsiteX5" fmla="*/ 3728314 w 7071986"/>
              <a:gd name="connsiteY5" fmla="*/ 1575222 h 5177482"/>
              <a:gd name="connsiteX6" fmla="*/ 7065199 w 7071986"/>
              <a:gd name="connsiteY6" fmla="*/ 3119 h 5177482"/>
              <a:gd name="connsiteX7" fmla="*/ 7071986 w 7071986"/>
              <a:gd name="connsiteY7" fmla="*/ 0 h 517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71986" h="5177482">
                <a:moveTo>
                  <a:pt x="7071986" y="0"/>
                </a:moveTo>
                <a:lnTo>
                  <a:pt x="7071986" y="5177482"/>
                </a:lnTo>
                <a:lnTo>
                  <a:pt x="418101" y="5177482"/>
                </a:lnTo>
                <a:lnTo>
                  <a:pt x="364654" y="4968325"/>
                </a:lnTo>
                <a:cubicBezTo>
                  <a:pt x="0" y="3541321"/>
                  <a:pt x="0" y="3541321"/>
                  <a:pt x="0" y="3541321"/>
                </a:cubicBezTo>
                <a:cubicBezTo>
                  <a:pt x="1109586" y="2904634"/>
                  <a:pt x="2352357" y="2249268"/>
                  <a:pt x="3728314" y="1575222"/>
                </a:cubicBezTo>
                <a:cubicBezTo>
                  <a:pt x="4522805" y="1180753"/>
                  <a:pt x="6066379" y="462615"/>
                  <a:pt x="7065199" y="3119"/>
                </a:cubicBezTo>
                <a:lnTo>
                  <a:pt x="7071986" y="0"/>
                </a:ln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pic>
        <p:nvPicPr>
          <p:cNvPr id="26" name="Picture 25">
            <a:extLst>
              <a:ext uri="{FF2B5EF4-FFF2-40B4-BE49-F238E27FC236}">
                <a16:creationId xmlns:a16="http://schemas.microsoft.com/office/drawing/2014/main" id="{8266F0CF-BE72-4E3C-9C43-A679BB5C0A25}"/>
              </a:ext>
            </a:extLst>
          </p:cNvPr>
          <p:cNvPicPr>
            <a:picLocks noChangeAspect="1"/>
          </p:cNvPicPr>
          <p:nvPr userDrawn="1"/>
        </p:nvPicPr>
        <p:blipFill>
          <a:blip r:embed="rId2"/>
          <a:srcRect/>
          <a:stretch/>
        </p:blipFill>
        <p:spPr>
          <a:xfrm>
            <a:off x="6001138" y="676544"/>
            <a:ext cx="5953619" cy="5126065"/>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252000"/>
            <a:ext cx="9864476" cy="900000"/>
          </a:xfrm>
          <a:prstGeom prst="rect">
            <a:avLst/>
          </a:prstGeom>
        </p:spPr>
        <p:txBody>
          <a:bodyPr vert="horz" lIns="0" tIns="0" rIns="0" bIns="0" rtlCol="0" anchor="ctr" anchorCtr="0">
            <a:normAutofit/>
          </a:bodyPr>
          <a:lstStyle>
            <a:lvl1pPr>
              <a:defRPr lang="pt-PT" dirty="0"/>
            </a:lvl1pPr>
          </a:lstStyle>
          <a:p>
            <a:pPr lvl="0">
              <a:lnSpc>
                <a:spcPct val="88000"/>
              </a:lnSpc>
            </a:pPr>
            <a:r>
              <a:rPr lang="en-US"/>
              <a:t>Click to add title</a:t>
            </a:r>
            <a:endParaRPr lang="pt-PT"/>
          </a:p>
        </p:txBody>
      </p:sp>
      <p:sp>
        <p:nvSpPr>
          <p:cNvPr id="19" name="Text Placeholder 7">
            <a:extLst>
              <a:ext uri="{FF2B5EF4-FFF2-40B4-BE49-F238E27FC236}">
                <a16:creationId xmlns:a16="http://schemas.microsoft.com/office/drawing/2014/main" id="{053B0AF9-F410-4C47-9D9C-CAC9890E4210}"/>
              </a:ext>
            </a:extLst>
          </p:cNvPr>
          <p:cNvSpPr>
            <a:spLocks noGrp="1"/>
          </p:cNvSpPr>
          <p:nvPr userDrawn="1">
            <p:ph type="body" sz="quarter" idx="10" hasCustomPrompt="1"/>
          </p:nvPr>
        </p:nvSpPr>
        <p:spPr>
          <a:xfrm>
            <a:off x="407987" y="1413990"/>
            <a:ext cx="11376025" cy="2222235"/>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a:t>Click to insert text</a:t>
            </a:r>
          </a:p>
          <a:p>
            <a:pPr marL="461963" lvl="1" indent="-236538">
              <a:buClr>
                <a:schemeClr val="accent4"/>
              </a:buClr>
              <a:buFont typeface="Arial" panose="020B0604020202020204" pitchFamily="34" charset="0"/>
              <a:buChar char="•"/>
            </a:pPr>
            <a:r>
              <a:rPr lang="en-US" sz="1600"/>
              <a:t>Click to insert text</a:t>
            </a:r>
            <a:endParaRPr lang="pt-PT" sz="1600"/>
          </a:p>
          <a:p>
            <a:pPr marL="688975" lvl="2" indent="-241300">
              <a:buClr>
                <a:schemeClr val="accent2"/>
              </a:buClr>
              <a:buFont typeface="Verdana" panose="020B0604030504040204" pitchFamily="34" charset="0"/>
              <a:buChar char="–"/>
            </a:pPr>
            <a:r>
              <a:rPr lang="en-US"/>
              <a:t>Click to insert text</a:t>
            </a:r>
            <a:endParaRPr lang="pt-PT"/>
          </a:p>
          <a:p>
            <a:pPr marL="914400" lvl="3" indent="-225425">
              <a:buClr>
                <a:schemeClr val="accent3"/>
              </a:buClr>
              <a:buFont typeface="Wingdings" panose="05000000000000000000" pitchFamily="2" charset="2"/>
              <a:buChar char="§"/>
            </a:pPr>
            <a:r>
              <a:rPr lang="en-US"/>
              <a:t>Click to insert text</a:t>
            </a:r>
            <a:endParaRPr lang="pt-PT"/>
          </a:p>
        </p:txBody>
      </p:sp>
      <p:sp>
        <p:nvSpPr>
          <p:cNvPr id="20" name="Text Placeholder 7">
            <a:extLst>
              <a:ext uri="{FF2B5EF4-FFF2-40B4-BE49-F238E27FC236}">
                <a16:creationId xmlns:a16="http://schemas.microsoft.com/office/drawing/2014/main" id="{4E956B68-B273-4648-AC4B-C9A05A745160}"/>
              </a:ext>
            </a:extLst>
          </p:cNvPr>
          <p:cNvSpPr>
            <a:spLocks noGrp="1"/>
          </p:cNvSpPr>
          <p:nvPr userDrawn="1">
            <p:ph type="body" sz="quarter" idx="32" hasCustomPrompt="1"/>
          </p:nvPr>
        </p:nvSpPr>
        <p:spPr>
          <a:xfrm>
            <a:off x="407988" y="4083602"/>
            <a:ext cx="4591062" cy="2170410"/>
          </a:xfrm>
          <a:prstGeom prst="rect">
            <a:avLst/>
          </a:prstGeom>
        </p:spPr>
        <p:txBody>
          <a:bodyPr anchor="t" anchorCtr="0">
            <a:noAutofit/>
          </a:bodyPr>
          <a:lstStyle>
            <a:lvl1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solidFill>
                  <a:schemeClr val="tx2"/>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2" name="Rectangle 11"/>
          <p:cNvSpPr/>
          <p:nvPr/>
        </p:nvSpPr>
        <p:spPr>
          <a:xfrm>
            <a:off x="6773227" y="4506287"/>
            <a:ext cx="1091558" cy="719034"/>
          </a:xfrm>
          <a:prstGeom prst="rect">
            <a:avLst/>
          </a:prstGeom>
          <a:scene3d>
            <a:camera prst="isometricTopUp"/>
            <a:lightRig rig="threePt" dir="t"/>
          </a:scene3d>
        </p:spPr>
        <p:txBody>
          <a:bodyPr wrap="square" lIns="0" tIns="72000" rIns="0" bIns="91440">
            <a:spAutoFit/>
          </a:bodyPr>
          <a:lstStyle/>
          <a:p>
            <a:pPr algn="ctr"/>
            <a:r>
              <a:rPr lang="en-US" sz="3600" b="1" spc="-150" dirty="0">
                <a:solidFill>
                  <a:srgbClr val="00B9E8"/>
                </a:solidFill>
                <a:latin typeface="Ubuntu" panose="020B0504030602030204" pitchFamily="34" charset="0"/>
              </a:rPr>
              <a:t>10%</a:t>
            </a:r>
          </a:p>
        </p:txBody>
      </p:sp>
      <p:sp>
        <p:nvSpPr>
          <p:cNvPr id="14" name="Rectangle 13"/>
          <p:cNvSpPr/>
          <p:nvPr/>
        </p:nvSpPr>
        <p:spPr>
          <a:xfrm>
            <a:off x="7664924" y="3758351"/>
            <a:ext cx="1091558" cy="719034"/>
          </a:xfrm>
          <a:prstGeom prst="rect">
            <a:avLst/>
          </a:prstGeom>
          <a:scene3d>
            <a:camera prst="isometricTopUp"/>
            <a:lightRig rig="threePt" dir="t"/>
          </a:scene3d>
        </p:spPr>
        <p:txBody>
          <a:bodyPr wrap="square" lIns="0" tIns="72000" rIns="0" bIns="91440">
            <a:spAutoFit/>
          </a:bodyPr>
          <a:lstStyle/>
          <a:p>
            <a:pPr algn="ctr"/>
            <a:r>
              <a:rPr lang="en-US" sz="3600" b="1" spc="-150">
                <a:solidFill>
                  <a:srgbClr val="00B9E8"/>
                </a:solidFill>
                <a:latin typeface="Ubuntu" panose="020B0504030602030204" pitchFamily="34" charset="0"/>
              </a:rPr>
              <a:t>20%</a:t>
            </a:r>
          </a:p>
        </p:txBody>
      </p:sp>
      <p:sp>
        <p:nvSpPr>
          <p:cNvPr id="15" name="Rectangle 14"/>
          <p:cNvSpPr/>
          <p:nvPr/>
        </p:nvSpPr>
        <p:spPr>
          <a:xfrm>
            <a:off x="8583365" y="3033551"/>
            <a:ext cx="1091558" cy="719034"/>
          </a:xfrm>
          <a:prstGeom prst="rect">
            <a:avLst/>
          </a:prstGeom>
          <a:scene3d>
            <a:camera prst="isometricTopUp"/>
            <a:lightRig rig="threePt" dir="t"/>
          </a:scene3d>
        </p:spPr>
        <p:txBody>
          <a:bodyPr wrap="square" lIns="0" tIns="72000" rIns="0" bIns="91440">
            <a:spAutoFit/>
          </a:bodyPr>
          <a:lstStyle/>
          <a:p>
            <a:pPr algn="ctr"/>
            <a:r>
              <a:rPr lang="en-US" sz="3600" b="1" spc="-150">
                <a:solidFill>
                  <a:srgbClr val="00B9E8"/>
                </a:solidFill>
                <a:latin typeface="Ubuntu" panose="020B0504030602030204" pitchFamily="34" charset="0"/>
              </a:rPr>
              <a:t>30%</a:t>
            </a:r>
          </a:p>
        </p:txBody>
      </p:sp>
      <p:sp>
        <p:nvSpPr>
          <p:cNvPr id="11" name="Rectangle 27">
            <a:extLst>
              <a:ext uri="{FF2B5EF4-FFF2-40B4-BE49-F238E27FC236}">
                <a16:creationId xmlns:a16="http://schemas.microsoft.com/office/drawing/2014/main" id="{F7501378-7281-45E4-8A97-C726FD52410B}"/>
              </a:ext>
            </a:extLst>
          </p:cNvPr>
          <p:cNvSpPr/>
          <p:nvPr userDrawn="1"/>
        </p:nvSpPr>
        <p:spPr>
          <a:xfrm>
            <a:off x="8436248" y="6555971"/>
            <a:ext cx="3356600"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dirty="0">
                <a:solidFill>
                  <a:schemeClr val="bg1">
                    <a:lumMod val="95000"/>
                  </a:schemeClr>
                </a:solidFill>
                <a:latin typeface="Ubuntu" panose="020B0504030602030204" pitchFamily="34" charset="0"/>
                <a:cs typeface="Arial" panose="020B0604020202020204" pitchFamily="34" charset="0"/>
              </a:rPr>
              <a:t>© 2022 Sogeti. All rights reserved</a:t>
            </a:r>
            <a:endParaRPr lang="en-GB" sz="800" kern="0" dirty="0">
              <a:solidFill>
                <a:schemeClr val="bg1">
                  <a:lumMod val="95000"/>
                </a:schemeClr>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333142842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150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000" fill="hold"/>
                                        <p:tgtEl>
                                          <p:spTgt spid="8"/>
                                        </p:tgtEl>
                                        <p:attrNameLst>
                                          <p:attrName>ppt_x</p:attrName>
                                        </p:attrNameLst>
                                      </p:cBhvr>
                                      <p:tavLst>
                                        <p:tav tm="0">
                                          <p:val>
                                            <p:strVal val="#ppt_x"/>
                                          </p:val>
                                        </p:tav>
                                        <p:tav tm="100000">
                                          <p:val>
                                            <p:strVal val="#ppt_x"/>
                                          </p:val>
                                        </p:tav>
                                      </p:tavLst>
                                    </p:anim>
                                    <p:anim calcmode="lin" valueType="num">
                                      <p:cBhvr additive="base">
                                        <p:cTn id="8" dur="10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Only-white">
    <p:spTree>
      <p:nvGrpSpPr>
        <p:cNvPr id="1" name=""/>
        <p:cNvGrpSpPr/>
        <p:nvPr/>
      </p:nvGrpSpPr>
      <p:grpSpPr>
        <a:xfrm>
          <a:off x="0" y="0"/>
          <a:ext cx="0" cy="0"/>
          <a:chOff x="0" y="0"/>
          <a:chExt cx="0" cy="0"/>
        </a:xfrm>
      </p:grpSpPr>
      <p:sp>
        <p:nvSpPr>
          <p:cNvPr id="11" name="Freeform 10"/>
          <p:cNvSpPr/>
          <p:nvPr userDrawn="1"/>
        </p:nvSpPr>
        <p:spPr bwMode="gray">
          <a:xfrm>
            <a:off x="1" y="1773244"/>
            <a:ext cx="12191999" cy="5084756"/>
          </a:xfrm>
          <a:custGeom>
            <a:avLst/>
            <a:gdLst>
              <a:gd name="connsiteX0" fmla="*/ 9471990 w 12191999"/>
              <a:gd name="connsiteY0" fmla="*/ 542 h 5084756"/>
              <a:gd name="connsiteX1" fmla="*/ 12097480 w 12191999"/>
              <a:gd name="connsiteY1" fmla="*/ 2744700 h 5084756"/>
              <a:gd name="connsiteX2" fmla="*/ 12191999 w 12191999"/>
              <a:gd name="connsiteY2" fmla="*/ 3032722 h 5084756"/>
              <a:gd name="connsiteX3" fmla="*/ 12191999 w 12191999"/>
              <a:gd name="connsiteY3" fmla="*/ 5084756 h 5084756"/>
              <a:gd name="connsiteX4" fmla="*/ 0 w 12191999"/>
              <a:gd name="connsiteY4" fmla="*/ 5084756 h 5084756"/>
              <a:gd name="connsiteX5" fmla="*/ 0 w 12191999"/>
              <a:gd name="connsiteY5" fmla="*/ 2957111 h 5084756"/>
              <a:gd name="connsiteX6" fmla="*/ 26348 w 12191999"/>
              <a:gd name="connsiteY6" fmla="*/ 2948506 h 5084756"/>
              <a:gd name="connsiteX7" fmla="*/ 8652212 w 12191999"/>
              <a:gd name="connsiteY7" fmla="*/ 131371 h 5084756"/>
              <a:gd name="connsiteX8" fmla="*/ 9471990 w 12191999"/>
              <a:gd name="connsiteY8" fmla="*/ 542 h 5084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5084756">
                <a:moveTo>
                  <a:pt x="9471990" y="542"/>
                </a:moveTo>
                <a:cubicBezTo>
                  <a:pt x="10762069" y="30159"/>
                  <a:pt x="11579642" y="1267447"/>
                  <a:pt x="12097480" y="2744700"/>
                </a:cubicBezTo>
                <a:lnTo>
                  <a:pt x="12191999" y="3032722"/>
                </a:lnTo>
                <a:lnTo>
                  <a:pt x="12191999" y="5084756"/>
                </a:lnTo>
                <a:lnTo>
                  <a:pt x="0" y="5084756"/>
                </a:lnTo>
                <a:lnTo>
                  <a:pt x="0" y="2957111"/>
                </a:lnTo>
                <a:lnTo>
                  <a:pt x="26348" y="2948506"/>
                </a:lnTo>
                <a:cubicBezTo>
                  <a:pt x="1039939" y="2617476"/>
                  <a:pt x="3356718" y="1860835"/>
                  <a:pt x="8652212" y="131371"/>
                </a:cubicBezTo>
                <a:cubicBezTo>
                  <a:pt x="8944735" y="35836"/>
                  <a:pt x="9217552" y="-5299"/>
                  <a:pt x="9471990" y="542"/>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0" rIns="0" bIns="0" rtlCol="0" anchor="t">
            <a:noAutofit/>
          </a:bodyPr>
          <a:lstStyle>
            <a:lvl1pPr>
              <a:defRPr lang="en-GB" sz="3200" dirty="0">
                <a:latin typeface="Ubuntu Light" panose="020B0604030602030204" pitchFamily="34" charset="0"/>
              </a:defRPr>
            </a:lvl1pPr>
          </a:lstStyle>
          <a:p>
            <a:pPr marL="0" lvl="0"/>
            <a:r>
              <a:rPr lang="en-US" dirty="0"/>
              <a:t>Click to edit Master title style</a:t>
            </a:r>
            <a:endParaRPr lang="en-GB" dirty="0"/>
          </a:p>
        </p:txBody>
      </p:sp>
      <p:sp>
        <p:nvSpPr>
          <p:cNvPr id="6" name="Retângulo 43">
            <a:extLst>
              <a:ext uri="{FF2B5EF4-FFF2-40B4-BE49-F238E27FC236}">
                <a16:creationId xmlns:a16="http://schemas.microsoft.com/office/drawing/2014/main" id="{362C89C8-E198-4424-9335-47D8BE815E89}"/>
              </a:ext>
            </a:extLst>
          </p:cNvPr>
          <p:cNvSpPr/>
          <p:nvPr userDrawn="1"/>
        </p:nvSpPr>
        <p:spPr>
          <a:xfrm>
            <a:off x="5938745" y="6555758"/>
            <a:ext cx="314510"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latin typeface="Ubuntu" panose="020B0504030602030204" pitchFamily="34" charset="0"/>
                <a:cs typeface="Arial" panose="020B0604020202020204" pitchFamily="34" charset="0"/>
              </a:rPr>
              <a:t>‹#›</a:t>
            </a:fld>
            <a:endParaRPr lang="en-US" sz="800">
              <a:solidFill>
                <a:prstClr val="black">
                  <a:lumMod val="50000"/>
                  <a:lumOff val="50000"/>
                </a:prstClr>
              </a:solidFill>
              <a:latin typeface="Ubuntu" panose="020B0504030602030204" pitchFamily="34" charset="0"/>
              <a:cs typeface="Arial" panose="020B0604020202020204" pitchFamily="34" charset="0"/>
            </a:endParaRPr>
          </a:p>
        </p:txBody>
      </p:sp>
      <p:sp>
        <p:nvSpPr>
          <p:cNvPr id="7" name="Rectangle 27">
            <a:extLst>
              <a:ext uri="{FF2B5EF4-FFF2-40B4-BE49-F238E27FC236}">
                <a16:creationId xmlns:a16="http://schemas.microsoft.com/office/drawing/2014/main" id="{78215CA7-687B-4147-B905-9FDCF551651B}"/>
              </a:ext>
            </a:extLst>
          </p:cNvPr>
          <p:cNvSpPr/>
          <p:nvPr userDrawn="1"/>
        </p:nvSpPr>
        <p:spPr>
          <a:xfrm>
            <a:off x="399153" y="65559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0">
                <a:solidFill>
                  <a:schemeClr val="bg2">
                    <a:lumMod val="50000"/>
                  </a:schemeClr>
                </a:solidFill>
                <a:latin typeface="Ubuntu" panose="020B0504030602030204" pitchFamily="34" charset="0"/>
                <a:cs typeface="Arial" panose="020B0604020202020204" pitchFamily="34" charset="0"/>
              </a:rPr>
              <a:t>Sogeti Global Overview</a:t>
            </a:r>
            <a:endParaRPr lang="en-GB" sz="800" kern="0">
              <a:solidFill>
                <a:schemeClr val="bg2">
                  <a:lumMod val="50000"/>
                </a:schemeClr>
              </a:solidFill>
              <a:latin typeface="Ubuntu" panose="020B0504030602030204" pitchFamily="34" charset="0"/>
              <a:cs typeface="Arial" panose="020B0604020202020204" pitchFamily="34" charset="0"/>
            </a:endParaRPr>
          </a:p>
        </p:txBody>
      </p:sp>
      <p:sp>
        <p:nvSpPr>
          <p:cNvPr id="8" name="Rectangle 27">
            <a:extLst>
              <a:ext uri="{FF2B5EF4-FFF2-40B4-BE49-F238E27FC236}">
                <a16:creationId xmlns:a16="http://schemas.microsoft.com/office/drawing/2014/main" id="{67E5BFB6-891B-425C-B577-6A5843B8E326}"/>
              </a:ext>
            </a:extLst>
          </p:cNvPr>
          <p:cNvSpPr/>
          <p:nvPr userDrawn="1"/>
        </p:nvSpPr>
        <p:spPr>
          <a:xfrm>
            <a:off x="8436248" y="6555971"/>
            <a:ext cx="3356600"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dirty="0">
                <a:solidFill>
                  <a:schemeClr val="bg2">
                    <a:lumMod val="50000"/>
                  </a:schemeClr>
                </a:solidFill>
                <a:latin typeface="Ubuntu" panose="020B0504030602030204" pitchFamily="34" charset="0"/>
                <a:cs typeface="Arial" panose="020B0604020202020204" pitchFamily="34" charset="0"/>
              </a:rPr>
              <a:t>© 2021 Sogeti. All rights reserved</a:t>
            </a:r>
            <a:endParaRPr lang="en-GB" sz="800" kern="0" dirty="0">
              <a:solidFill>
                <a:schemeClr val="bg2">
                  <a:lumMod val="50000"/>
                </a:schemeClr>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320746904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losing3">
    <p:spTree>
      <p:nvGrpSpPr>
        <p:cNvPr id="1" name=""/>
        <p:cNvGrpSpPr/>
        <p:nvPr/>
      </p:nvGrpSpPr>
      <p:grpSpPr>
        <a:xfrm>
          <a:off x="0" y="0"/>
          <a:ext cx="0" cy="0"/>
          <a:chOff x="0" y="0"/>
          <a:chExt cx="0" cy="0"/>
        </a:xfrm>
      </p:grpSpPr>
      <p:sp>
        <p:nvSpPr>
          <p:cNvPr id="10" name="Freeform 9"/>
          <p:cNvSpPr/>
          <p:nvPr userDrawn="1"/>
        </p:nvSpPr>
        <p:spPr bwMode="ltGray">
          <a:xfrm>
            <a:off x="0" y="0"/>
            <a:ext cx="6096000" cy="5796064"/>
          </a:xfrm>
          <a:custGeom>
            <a:avLst/>
            <a:gdLst>
              <a:gd name="connsiteX0" fmla="*/ 0 w 6096000"/>
              <a:gd name="connsiteY0" fmla="*/ 0 h 5796064"/>
              <a:gd name="connsiteX1" fmla="*/ 6096000 w 6096000"/>
              <a:gd name="connsiteY1" fmla="*/ 0 h 5796064"/>
              <a:gd name="connsiteX2" fmla="*/ 6096000 w 6096000"/>
              <a:gd name="connsiteY2" fmla="*/ 133757 h 5796064"/>
              <a:gd name="connsiteX3" fmla="*/ 6096000 w 6096000"/>
              <a:gd name="connsiteY3" fmla="*/ 4034055 h 5796064"/>
              <a:gd name="connsiteX4" fmla="*/ 0 w 6096000"/>
              <a:gd name="connsiteY4" fmla="*/ 5309105 h 5796064"/>
              <a:gd name="connsiteX5" fmla="*/ 0 w 6096000"/>
              <a:gd name="connsiteY5" fmla="*/ 8972 h 5796064"/>
              <a:gd name="connsiteX6" fmla="*/ 0 w 6096000"/>
              <a:gd name="connsiteY6" fmla="*/ 0 h 57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96064">
                <a:moveTo>
                  <a:pt x="0" y="0"/>
                </a:moveTo>
                <a:lnTo>
                  <a:pt x="6096000" y="0"/>
                </a:lnTo>
                <a:lnTo>
                  <a:pt x="6096000" y="133757"/>
                </a:lnTo>
                <a:cubicBezTo>
                  <a:pt x="6096000" y="1105896"/>
                  <a:pt x="6096000" y="2375629"/>
                  <a:pt x="6096000" y="4034055"/>
                </a:cubicBezTo>
                <a:cubicBezTo>
                  <a:pt x="6096000" y="6848354"/>
                  <a:pt x="721895" y="5492896"/>
                  <a:pt x="0" y="5309105"/>
                </a:cubicBezTo>
                <a:cubicBezTo>
                  <a:pt x="0" y="5309105"/>
                  <a:pt x="0" y="5309105"/>
                  <a:pt x="0" y="897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3" name="Rectangle 22"/>
          <p:cNvSpPr/>
          <p:nvPr userDrawn="1"/>
        </p:nvSpPr>
        <p:spPr bwMode="white">
          <a:xfrm>
            <a:off x="420526" y="4596379"/>
            <a:ext cx="3999073" cy="446276"/>
          </a:xfrm>
          <a:prstGeom prst="rect">
            <a:avLst/>
          </a:prstGeom>
        </p:spPr>
        <p:txBody>
          <a:bodyPr wrap="square" lIns="0" tIns="0" rIns="0" bIns="0" anchor="b" anchorCtr="0">
            <a:spAutoFit/>
          </a:bodyPr>
          <a:lstStyle/>
          <a:p>
            <a:pPr algn="l">
              <a:spcAft>
                <a:spcPts val="600"/>
              </a:spcAft>
            </a:pPr>
            <a:r>
              <a:rPr lang="en-US" sz="800" noProof="0" dirty="0">
                <a:solidFill>
                  <a:schemeClr val="bg1"/>
                </a:solidFill>
                <a:latin typeface="Ubuntu" panose="020B0504030602030204" pitchFamily="34" charset="0"/>
                <a:cs typeface="Arial"/>
              </a:rPr>
              <a:t>This message contains information that may be privileged or confidential and is the property of the Capgemini Group.</a:t>
            </a:r>
          </a:p>
          <a:p>
            <a:pPr algn="l">
              <a:spcAft>
                <a:spcPts val="600"/>
              </a:spcAft>
            </a:pPr>
            <a:r>
              <a:rPr lang="en-US" sz="800" noProof="0">
                <a:solidFill>
                  <a:schemeClr val="bg1"/>
                </a:solidFill>
                <a:latin typeface="Ubuntu" panose="020B0504030602030204" pitchFamily="34" charset="0"/>
                <a:cs typeface="Arial"/>
              </a:rPr>
              <a:t>Copyright</a:t>
            </a:r>
            <a:r>
              <a:rPr lang="en-US" sz="800" baseline="30000" noProof="0">
                <a:solidFill>
                  <a:schemeClr val="bg1"/>
                </a:solidFill>
                <a:latin typeface="Ubuntu" panose="020B0504030602030204" pitchFamily="34" charset="0"/>
                <a:cs typeface="Arial"/>
              </a:rPr>
              <a:t>©</a:t>
            </a:r>
            <a:r>
              <a:rPr lang="en-US" sz="800" noProof="0">
                <a:solidFill>
                  <a:schemeClr val="bg1"/>
                </a:solidFill>
                <a:latin typeface="Ubuntu" panose="020B0504030602030204" pitchFamily="34" charset="0"/>
                <a:cs typeface="Arial"/>
              </a:rPr>
              <a:t> 2021 Sogeti. </a:t>
            </a:r>
            <a:r>
              <a:rPr lang="en-US" sz="800" noProof="0" dirty="0">
                <a:solidFill>
                  <a:schemeClr val="bg1"/>
                </a:solidFill>
                <a:latin typeface="Ubuntu" panose="020B0504030602030204" pitchFamily="34" charset="0"/>
                <a:cs typeface="Arial"/>
              </a:rPr>
              <a:t>All rights reserved.</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9" name="Picture 2" descr="D:\My Work\Template\Icons\Social Media\LinkedIN.png">
            <a:hlinkClick r:id="rId3"/>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4" cstate="print"/>
          <a:srcRect/>
          <a:stretch>
            <a:fillRect/>
          </a:stretch>
        </p:blipFill>
        <p:spPr bwMode="auto">
          <a:xfrm>
            <a:off x="420526" y="3962400"/>
            <a:ext cx="333195" cy="333195"/>
          </a:xfrm>
          <a:prstGeom prst="rect">
            <a:avLst/>
          </a:prstGeom>
          <a:noFill/>
        </p:spPr>
      </p:pic>
      <p:pic>
        <p:nvPicPr>
          <p:cNvPr id="12" name="Picture 5" descr="D:\My Work\Template\Icons\Social Media\Twitter.png">
            <a:hlinkClick r:id="rId5"/>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6" cstate="print"/>
          <a:srcRect/>
          <a:stretch>
            <a:fillRect/>
          </a:stretch>
        </p:blipFill>
        <p:spPr bwMode="auto">
          <a:xfrm>
            <a:off x="803902" y="3962400"/>
            <a:ext cx="333195" cy="333195"/>
          </a:xfrm>
          <a:prstGeom prst="rect">
            <a:avLst/>
          </a:prstGeom>
          <a:noFill/>
        </p:spPr>
      </p:pic>
      <p:pic>
        <p:nvPicPr>
          <p:cNvPr id="13" name="Picture 6" descr="D:\My Work\Template\Icons\Social Media\YouTube.png">
            <a:hlinkClick r:id="rId7"/>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8" cstate="print"/>
          <a:srcRect/>
          <a:stretch>
            <a:fillRect/>
          </a:stretch>
        </p:blipFill>
        <p:spPr bwMode="auto">
          <a:xfrm>
            <a:off x="1187278" y="3962400"/>
            <a:ext cx="333195" cy="333195"/>
          </a:xfrm>
          <a:prstGeom prst="rect">
            <a:avLst/>
          </a:prstGeom>
          <a:noFill/>
        </p:spPr>
      </p:pic>
      <p:sp>
        <p:nvSpPr>
          <p:cNvPr id="2" name="Rectangle 1">
            <a:extLst>
              <a:ext uri="{FF2B5EF4-FFF2-40B4-BE49-F238E27FC236}">
                <a16:creationId xmlns:a16="http://schemas.microsoft.com/office/drawing/2014/main" id="{9413BBFF-FD8E-47F6-9672-EADF4B4A3E88}"/>
              </a:ext>
            </a:extLst>
          </p:cNvPr>
          <p:cNvSpPr/>
          <p:nvPr userDrawn="1"/>
        </p:nvSpPr>
        <p:spPr bwMode="white">
          <a:xfrm>
            <a:off x="152400" y="6553200"/>
            <a:ext cx="11811000" cy="228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endParaRPr>
          </a:p>
        </p:txBody>
      </p:sp>
      <p:sp>
        <p:nvSpPr>
          <p:cNvPr id="15" name="Rectangle 14">
            <a:extLst>
              <a:ext uri="{FF2B5EF4-FFF2-40B4-BE49-F238E27FC236}">
                <a16:creationId xmlns:a16="http://schemas.microsoft.com/office/drawing/2014/main" id="{971A0A14-AFF9-436A-A487-A5081EE2CC6E}"/>
              </a:ext>
            </a:extLst>
          </p:cNvPr>
          <p:cNvSpPr/>
          <p:nvPr userDrawn="1"/>
        </p:nvSpPr>
        <p:spPr>
          <a:xfrm>
            <a:off x="6713974" y="1057608"/>
            <a:ext cx="4503376" cy="4547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l">
              <a:lnSpc>
                <a:spcPct val="300000"/>
              </a:lnSpc>
            </a:pPr>
            <a:r>
              <a:rPr lang="en-US" sz="1600" b="1" dirty="0">
                <a:solidFill>
                  <a:srgbClr val="2B0A3D"/>
                </a:solidFill>
                <a:latin typeface="Ubuntu" panose="020B0504030602030204" pitchFamily="34" charset="0"/>
              </a:rPr>
              <a:t>About Sogeti</a:t>
            </a:r>
            <a:r>
              <a:rPr lang="en-GB" sz="1800" b="1" kern="1200" dirty="0">
                <a:solidFill>
                  <a:schemeClr val="lt1"/>
                </a:solidFill>
                <a:effectLst/>
                <a:latin typeface="Ubuntu" panose="020B0504030602030204" pitchFamily="34" charset="0"/>
                <a:ea typeface="+mn-ea"/>
                <a:cs typeface="+mn-cs"/>
              </a:rPr>
              <a:t> </a:t>
            </a:r>
          </a:p>
          <a:p>
            <a:r>
              <a:rPr lang="en-GB" sz="1050" kern="1200" dirty="0">
                <a:solidFill>
                  <a:schemeClr val="tx1"/>
                </a:solidFill>
                <a:effectLst/>
                <a:latin typeface="Ubuntu" panose="020B0504030602030204" pitchFamily="34" charset="0"/>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1050" kern="1200" dirty="0" err="1">
                <a:solidFill>
                  <a:schemeClr val="tx1"/>
                </a:solidFill>
                <a:effectLst/>
                <a:latin typeface="Ubuntu" panose="020B0504030602030204" pitchFamily="34" charset="0"/>
                <a:ea typeface="+mn-ea"/>
                <a:cs typeface="+mn-cs"/>
              </a:rPr>
              <a:t>fueled</a:t>
            </a:r>
            <a:r>
              <a:rPr lang="en-GB" sz="1050" kern="1200" dirty="0">
                <a:solidFill>
                  <a:schemeClr val="tx1"/>
                </a:solidFill>
                <a:effectLst/>
                <a:latin typeface="Ubuntu" panose="020B0504030602030204" pitchFamily="34" charset="0"/>
                <a:ea typeface="+mn-ea"/>
                <a:cs typeface="+mn-cs"/>
              </a:rPr>
              <a:t> by AI and automation. With its hands-on ‘value in the making’ approach and passion for technology, Sogeti helps organizations implement their digital journeys at speed. </a:t>
            </a:r>
          </a:p>
          <a:p>
            <a:r>
              <a:rPr lang="en-GB" sz="1050" kern="1200" dirty="0">
                <a:solidFill>
                  <a:schemeClr val="tx1"/>
                </a:solidFill>
                <a:effectLst/>
                <a:latin typeface="Ubuntu" panose="020B0504030602030204" pitchFamily="34" charset="0"/>
                <a:ea typeface="+mn-ea"/>
                <a:cs typeface="+mn-cs"/>
              </a:rPr>
              <a:t> </a:t>
            </a:r>
          </a:p>
          <a:p>
            <a:r>
              <a:rPr lang="en-GB" sz="1050" kern="1200" dirty="0">
                <a:solidFill>
                  <a:schemeClr val="tx1"/>
                </a:solidFill>
                <a:effectLst/>
                <a:latin typeface="Ubuntu" panose="020B0504030602030204" pitchFamily="34" charset="0"/>
                <a:ea typeface="+mn-ea"/>
                <a:cs typeface="+mn-cs"/>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a:t>
            </a:r>
            <a:r>
              <a:rPr lang="en-GB" sz="1050" kern="1200" dirty="0" err="1">
                <a:solidFill>
                  <a:schemeClr val="tx1"/>
                </a:solidFill>
                <a:effectLst/>
                <a:latin typeface="Ubuntu" panose="020B0504030602030204" pitchFamily="34" charset="0"/>
                <a:ea typeface="+mn-ea"/>
                <a:cs typeface="+mn-cs"/>
              </a:rPr>
              <a:t>fueled</a:t>
            </a:r>
            <a:r>
              <a:rPr lang="en-GB" sz="1050" kern="1200" dirty="0">
                <a:solidFill>
                  <a:schemeClr val="tx1"/>
                </a:solidFill>
                <a:effectLst/>
                <a:latin typeface="Ubuntu" panose="020B0504030602030204" pitchFamily="34" charset="0"/>
                <a:ea typeface="+mn-ea"/>
                <a:cs typeface="+mn-cs"/>
              </a:rPr>
              <a:t> by the fast evolving and innovative world of cloud, data, AI, connectivity, software, digital engineering and platforms. The Group reported in 2020 global revenues of €16 billion. Get the Future You Want. </a:t>
            </a:r>
          </a:p>
          <a:p>
            <a:endParaRPr lang="en-GB" sz="1050" kern="1200" dirty="0">
              <a:solidFill>
                <a:schemeClr val="tx1"/>
              </a:solidFill>
              <a:effectLst/>
              <a:latin typeface="Ubuntu" panose="020B05040306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050" kern="1200" dirty="0">
                <a:solidFill>
                  <a:schemeClr val="tx1"/>
                </a:solidFill>
                <a:effectLst/>
                <a:latin typeface="Ubuntu" panose="020B0504030602030204" pitchFamily="34" charset="0"/>
                <a:ea typeface="+mn-ea"/>
                <a:cs typeface="+mn-cs"/>
              </a:rPr>
              <a:t> Visit us at </a:t>
            </a:r>
            <a:r>
              <a:rPr lang="en-GB" sz="1050" u="none" kern="1200" dirty="0">
                <a:solidFill>
                  <a:schemeClr val="tx1"/>
                </a:solidFill>
                <a:effectLst/>
                <a:latin typeface="Ubuntu" panose="020B0504030602030204" pitchFamily="34" charset="0"/>
                <a:ea typeface="+mn-ea"/>
                <a:cs typeface="+mn-cs"/>
                <a:hlinkClick r:id="rId9">
                  <a:extLst>
                    <a:ext uri="{A12FA001-AC4F-418D-AE19-62706E023703}">
                      <ahyp:hlinkClr xmlns:ahyp="http://schemas.microsoft.com/office/drawing/2018/hyperlinkcolor" val="tx"/>
                    </a:ext>
                  </a:extLst>
                </a:hlinkClick>
              </a:rPr>
              <a:t>www.sogeti.com</a:t>
            </a:r>
            <a:endParaRPr lang="en-GB" sz="1050" u="none" kern="1200" dirty="0">
              <a:solidFill>
                <a:schemeClr val="tx1"/>
              </a:solidFill>
              <a:effectLst/>
              <a:latin typeface="Ubuntu" panose="020B0504030602030204" pitchFamily="34" charset="0"/>
              <a:ea typeface="+mn-ea"/>
              <a:cs typeface="+mn-cs"/>
            </a:endParaRPr>
          </a:p>
          <a:p>
            <a:endParaRPr lang="en-GB" sz="1050" kern="1200" dirty="0">
              <a:solidFill>
                <a:schemeClr val="tx1"/>
              </a:solidFill>
              <a:effectLst/>
              <a:latin typeface="Ubuntu" panose="020B0504030602030204" pitchFamily="34" charset="0"/>
              <a:ea typeface="+mn-ea"/>
              <a:cs typeface="+mn-cs"/>
            </a:endParaRPr>
          </a:p>
        </p:txBody>
      </p:sp>
    </p:spTree>
    <p:extLst>
      <p:ext uri="{BB962C8B-B14F-4D97-AF65-F5344CB8AC3E}">
        <p14:creationId xmlns:p14="http://schemas.microsoft.com/office/powerpoint/2010/main" val="182105447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498012" cy="863600"/>
          </a:xfrm>
          <a:prstGeom prst="rect">
            <a:avLst/>
          </a:prstGeom>
        </p:spPr>
        <p:txBody>
          <a:bodyPr vert="horz" lIns="0" tIns="0" rIns="0" bIns="0" rtlCol="0" anchor="t">
            <a:normAutofit/>
          </a:bodyPr>
          <a:lstStyle>
            <a:lvl1pPr>
              <a:defRPr lang="pt-PT" b="1" i="0" dirty="0">
                <a:latin typeface="Ubuntu" panose="020B0504030602030204" pitchFamily="34" charset="0"/>
              </a:defRPr>
            </a:lvl1pPr>
          </a:lstStyle>
          <a:p>
            <a:pPr lvl="0">
              <a:lnSpc>
                <a:spcPts val="3000"/>
              </a:lnSpc>
            </a:pPr>
            <a:r>
              <a:rPr lang="en-US"/>
              <a:t>Click to add title</a:t>
            </a:r>
            <a:endParaRPr lang="pt-PT"/>
          </a:p>
        </p:txBody>
      </p:sp>
      <p:pic>
        <p:nvPicPr>
          <p:cNvPr id="5" name="Imagen 4">
            <a:extLst>
              <a:ext uri="{FF2B5EF4-FFF2-40B4-BE49-F238E27FC236}">
                <a16:creationId xmlns:a16="http://schemas.microsoft.com/office/drawing/2014/main" id="{0C29C71A-B665-46B6-9792-7D3B8F6B4BD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640291" y="304800"/>
            <a:ext cx="1190162" cy="616905"/>
          </a:xfrm>
          <a:prstGeom prst="rect">
            <a:avLst/>
          </a:prstGeom>
        </p:spPr>
      </p:pic>
    </p:spTree>
    <p:extLst>
      <p:ext uri="{BB962C8B-B14F-4D97-AF65-F5344CB8AC3E}">
        <p14:creationId xmlns:p14="http://schemas.microsoft.com/office/powerpoint/2010/main" val="27368151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x">
  <p:cSld name="7_Cover2">
    <p:spTree>
      <p:nvGrpSpPr>
        <p:cNvPr id="1" name=""/>
        <p:cNvGrpSpPr/>
        <p:nvPr/>
      </p:nvGrpSpPr>
      <p:grpSpPr>
        <a:xfrm>
          <a:off x="0" y="0"/>
          <a:ext cx="0" cy="0"/>
          <a:chOff x="0" y="0"/>
          <a:chExt cx="0" cy="0"/>
        </a:xfrm>
      </p:grpSpPr>
      <p:sp>
        <p:nvSpPr>
          <p:cNvPr id="540" name="Número de diapositiva"/>
          <p:cNvSpPr>
            <a:spLocks noGrp="1"/>
          </p:cNvSpPr>
          <p:nvPr>
            <p:ph type="sldNum" sz="quarter" idx="2"/>
          </p:nvPr>
        </p:nvSpPr>
        <p:spPr>
          <a:xfrm>
            <a:off x="8213097" y="6171686"/>
            <a:ext cx="524503" cy="369330"/>
          </a:xfrm>
          <a:prstGeom prst="rect">
            <a:avLst/>
          </a:prstGeom>
        </p:spPr>
        <p:txBody>
          <a:bodyPr anchor="ctr"/>
          <a:lstStyle>
            <a:lvl1pPr>
              <a:defRPr sz="1200">
                <a:solidFill>
                  <a:srgbClr val="000000"/>
                </a:solidFill>
              </a:defRPr>
            </a:lvl1pPr>
          </a:lstStyle>
          <a:p>
            <a:fld id="{86CB4B4D-7CA3-9044-876B-883B54F8677D}" type="slidenum">
              <a:t>‹#›</a:t>
            </a:fld>
            <a:endParaRPr/>
          </a:p>
        </p:txBody>
      </p:sp>
      <p:sp>
        <p:nvSpPr>
          <p:cNvPr id="4" name="Retângulo 43">
            <a:extLst>
              <a:ext uri="{FF2B5EF4-FFF2-40B4-BE49-F238E27FC236}">
                <a16:creationId xmlns:a16="http://schemas.microsoft.com/office/drawing/2014/main" id="{93E7F356-56E8-412E-9185-F29C1775AAF0}"/>
              </a:ext>
            </a:extLst>
          </p:cNvPr>
          <p:cNvSpPr/>
          <p:nvPr userDrawn="1"/>
        </p:nvSpPr>
        <p:spPr>
          <a:xfrm>
            <a:off x="9256929" y="6586492"/>
            <a:ext cx="2725673" cy="180425"/>
          </a:xfrm>
          <a:prstGeom prst="rect">
            <a:avLst/>
          </a:prstGeom>
        </p:spPr>
        <p:txBody>
          <a:bodyPr wrap="none" lIns="36000" tIns="36000" rIns="36000" bIns="3600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dirty="0">
                <a:solidFill>
                  <a:schemeClr val="bg2">
                    <a:lumMod val="50000"/>
                  </a:schemeClr>
                </a:solidFill>
                <a:cs typeface="Arial" panose="020B0604020202020204" pitchFamily="34" charset="0"/>
              </a:rPr>
              <a:t>Company confidential   © 2021 Sogeti. All rights reserved.</a:t>
            </a:r>
            <a:endParaRPr lang="en-US" sz="700" dirty="0">
              <a:solidFill>
                <a:schemeClr val="bg2">
                  <a:lumMod val="50000"/>
                </a:schemeClr>
              </a:solidFill>
            </a:endParaRPr>
          </a:p>
        </p:txBody>
      </p:sp>
    </p:spTree>
    <p:extLst>
      <p:ext uri="{BB962C8B-B14F-4D97-AF65-F5344CB8AC3E}">
        <p14:creationId xmlns:p14="http://schemas.microsoft.com/office/powerpoint/2010/main" val="1522531045"/>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Cover11">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113B0423-B5D2-47AC-A167-6DFEE88BB61E}"/>
              </a:ext>
            </a:extLst>
          </p:cNvPr>
          <p:cNvSpPr/>
          <p:nvPr userDrawn="1"/>
        </p:nvSpPr>
        <p:spPr>
          <a:xfrm>
            <a:off x="0" y="1"/>
            <a:ext cx="12192000" cy="68655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Imagen 5" descr="Imagen que contiene Logotipo&#10;&#10;Descripción generada automáticamente">
            <a:extLst>
              <a:ext uri="{FF2B5EF4-FFF2-40B4-BE49-F238E27FC236}">
                <a16:creationId xmlns:a16="http://schemas.microsoft.com/office/drawing/2014/main" id="{517BE126-7BD1-4F82-9EF9-716AA60EDB69}"/>
              </a:ext>
            </a:extLst>
          </p:cNvPr>
          <p:cNvPicPr>
            <a:picLocks noChangeAspect="1"/>
          </p:cNvPicPr>
          <p:nvPr userDrawn="1"/>
        </p:nvPicPr>
        <p:blipFill>
          <a:blip r:embed="rId2"/>
          <a:stretch>
            <a:fillRect/>
          </a:stretch>
        </p:blipFill>
        <p:spPr>
          <a:xfrm>
            <a:off x="297254" y="248648"/>
            <a:ext cx="1134504" cy="717677"/>
          </a:xfrm>
          <a:prstGeom prst="rect">
            <a:avLst/>
          </a:prstGeom>
        </p:spPr>
      </p:pic>
      <p:sp>
        <p:nvSpPr>
          <p:cNvPr id="9" name="Título 8">
            <a:extLst>
              <a:ext uri="{FF2B5EF4-FFF2-40B4-BE49-F238E27FC236}">
                <a16:creationId xmlns:a16="http://schemas.microsoft.com/office/drawing/2014/main" id="{40B72E5B-7E64-4CE0-B6FC-14BBE3193BE5}"/>
              </a:ext>
            </a:extLst>
          </p:cNvPr>
          <p:cNvSpPr>
            <a:spLocks noGrp="1"/>
          </p:cNvSpPr>
          <p:nvPr>
            <p:ph type="title"/>
          </p:nvPr>
        </p:nvSpPr>
        <p:spPr>
          <a:xfrm>
            <a:off x="1680410" y="404813"/>
            <a:ext cx="9744181" cy="461665"/>
          </a:xfrm>
        </p:spPr>
        <p:txBody>
          <a:bodyPr>
            <a:normAutofit/>
          </a:bodyPr>
          <a:lstStyle>
            <a:lvl1pPr>
              <a:defRPr sz="2000" b="0">
                <a:solidFill>
                  <a:schemeClr val="tx2"/>
                </a:solidFill>
                <a:latin typeface="Ubuntu" panose="020B0504030602030204" pitchFamily="34" charset="0"/>
              </a:defRPr>
            </a:lvl1pPr>
          </a:lstStyle>
          <a:p>
            <a:r>
              <a:rPr lang="es-ES"/>
              <a:t>Haga clic para modificar el estilo de título del patrón</a:t>
            </a:r>
          </a:p>
        </p:txBody>
      </p:sp>
    </p:spTree>
    <p:extLst>
      <p:ext uri="{BB962C8B-B14F-4D97-AF65-F5344CB8AC3E}">
        <p14:creationId xmlns:p14="http://schemas.microsoft.com/office/powerpoint/2010/main" val="90068663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498012" cy="863600"/>
          </a:xfrm>
          <a:prstGeom prst="rect">
            <a:avLst/>
          </a:prstGeom>
        </p:spPr>
        <p:txBody>
          <a:bodyPr vert="horz" lIns="0" tIns="0" rIns="0" bIns="0" rtlCol="0" anchor="t">
            <a:normAutofit/>
          </a:bodyPr>
          <a:lstStyle>
            <a:lvl1pPr>
              <a:defRPr lang="pt-PT" b="1" i="0" dirty="0">
                <a:latin typeface="Ubuntu" panose="020B0504030602030204" pitchFamily="34" charset="0"/>
              </a:defRPr>
            </a:lvl1pPr>
          </a:lstStyle>
          <a:p>
            <a:pPr lvl="0">
              <a:lnSpc>
                <a:spcPts val="3000"/>
              </a:lnSpc>
            </a:pPr>
            <a:r>
              <a:rPr lang="en-US"/>
              <a:t>Click to add title</a:t>
            </a:r>
            <a:endParaRPr lang="pt-PT"/>
          </a:p>
        </p:txBody>
      </p:sp>
      <p:pic>
        <p:nvPicPr>
          <p:cNvPr id="5" name="Imagen 4">
            <a:extLst>
              <a:ext uri="{FF2B5EF4-FFF2-40B4-BE49-F238E27FC236}">
                <a16:creationId xmlns:a16="http://schemas.microsoft.com/office/drawing/2014/main" id="{0C29C71A-B665-46B6-9792-7D3B8F6B4BD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640291" y="304800"/>
            <a:ext cx="1190162" cy="616905"/>
          </a:xfrm>
          <a:prstGeom prst="rect">
            <a:avLst/>
          </a:prstGeom>
        </p:spPr>
      </p:pic>
    </p:spTree>
    <p:extLst>
      <p:ext uri="{BB962C8B-B14F-4D97-AF65-F5344CB8AC3E}">
        <p14:creationId xmlns:p14="http://schemas.microsoft.com/office/powerpoint/2010/main" val="21529794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8_Cover2">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5" name="Oval 4"/>
          <p:cNvSpPr/>
          <p:nvPr userDrawn="1"/>
        </p:nvSpPr>
        <p:spPr>
          <a:xfrm>
            <a:off x="5349241" y="232141"/>
            <a:ext cx="6450012" cy="64500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1400">
              <a:solidFill>
                <a:schemeClr val="tx1"/>
              </a:solidFill>
            </a:endParaRPr>
          </a:p>
        </p:txBody>
      </p:sp>
      <p:sp>
        <p:nvSpPr>
          <p:cNvPr id="8" name="Title 1"/>
          <p:cNvSpPr>
            <a:spLocks noGrp="1"/>
          </p:cNvSpPr>
          <p:nvPr>
            <p:ph type="ctrTitle" hasCustomPrompt="1"/>
          </p:nvPr>
        </p:nvSpPr>
        <p:spPr>
          <a:xfrm>
            <a:off x="5700932" y="2778614"/>
            <a:ext cx="5781797"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accent3"/>
                </a:solidFill>
              </a:defRPr>
            </a:lvl1pPr>
          </a:lstStyle>
          <a:p>
            <a:pPr marL="0" lvl="0"/>
            <a:r>
              <a:rPr lang="en-US"/>
              <a:t>Title of Presentation</a:t>
            </a:r>
          </a:p>
        </p:txBody>
      </p:sp>
      <p:sp>
        <p:nvSpPr>
          <p:cNvPr id="9" name="Subtitle 2"/>
          <p:cNvSpPr>
            <a:spLocks noGrp="1"/>
          </p:cNvSpPr>
          <p:nvPr>
            <p:ph type="subTitle" idx="1" hasCustomPrompt="1"/>
          </p:nvPr>
        </p:nvSpPr>
        <p:spPr>
          <a:xfrm>
            <a:off x="5700932" y="3693013"/>
            <a:ext cx="578179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a:t>Subtitle</a:t>
            </a:r>
          </a:p>
        </p:txBody>
      </p:sp>
    </p:spTree>
    <p:extLst>
      <p:ext uri="{BB962C8B-B14F-4D97-AF65-F5344CB8AC3E}">
        <p14:creationId xmlns:p14="http://schemas.microsoft.com/office/powerpoint/2010/main" val="19864896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Blank-White">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498012" cy="863600"/>
          </a:xfrm>
          <a:prstGeom prst="rect">
            <a:avLst/>
          </a:prstGeom>
        </p:spPr>
        <p:txBody>
          <a:bodyPr vert="horz" lIns="0" tIns="0" rIns="0" bIns="0" rtlCol="0" anchor="t">
            <a:normAutofit/>
          </a:bodyPr>
          <a:lstStyle>
            <a:lvl1pPr>
              <a:defRPr lang="pt-PT" b="1" i="0" dirty="0">
                <a:latin typeface="Ubuntu" panose="020B0504030602030204" pitchFamily="34" charset="0"/>
              </a:defRPr>
            </a:lvl1pPr>
          </a:lstStyle>
          <a:p>
            <a:pPr lvl="0">
              <a:lnSpc>
                <a:spcPts val="3000"/>
              </a:lnSpc>
            </a:pPr>
            <a:r>
              <a:rPr lang="en-US"/>
              <a:t>Click to add title</a:t>
            </a:r>
            <a:endParaRPr lang="pt-PT"/>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79814" y="6555758"/>
            <a:ext cx="2591986" cy="219456"/>
          </a:xfrm>
          <a:prstGeom prst="rect">
            <a:avLst/>
          </a:prstGeom>
        </p:spPr>
        <p:txBody>
          <a:bodyPr wrap="none" lIns="0" tIns="0" rIns="0" bIns="0" anchor="ctr">
            <a:noAutofit/>
          </a:bodyPr>
          <a:lstStyle/>
          <a:p>
            <a:pPr>
              <a:lnSpc>
                <a:spcPct val="100000"/>
              </a:lnSpc>
            </a:pPr>
            <a:r>
              <a:rPr lang="en-US" sz="800" dirty="0">
                <a:solidFill>
                  <a:schemeClr val="bg2">
                    <a:lumMod val="50000"/>
                  </a:schemeClr>
                </a:solidFill>
                <a:cs typeface="Arial" panose="020B0604020202020204" pitchFamily="34" charset="0"/>
              </a:rPr>
              <a:t>© 2021 Sogeti. All rights reserved.</a:t>
            </a:r>
          </a:p>
        </p:txBody>
      </p:sp>
      <p:pic>
        <p:nvPicPr>
          <p:cNvPr id="7" name="Gráfico 6" descr="Inicio">
            <a:hlinkClick r:id="rId2" action="ppaction://hlinksldjump" tooltip="Inicio"/>
            <a:extLst>
              <a:ext uri="{FF2B5EF4-FFF2-40B4-BE49-F238E27FC236}">
                <a16:creationId xmlns:a16="http://schemas.microsoft.com/office/drawing/2014/main" id="{3B826228-1357-424A-93BC-09F8E8312AE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80316" y="6527273"/>
            <a:ext cx="248169" cy="231805"/>
          </a:xfrm>
          <a:prstGeom prst="rect">
            <a:avLst/>
          </a:prstGeom>
        </p:spPr>
      </p:pic>
      <p:pic>
        <p:nvPicPr>
          <p:cNvPr id="8" name="Gráfico 7" descr="Marca de verificación">
            <a:hlinkClick r:id="" action="ppaction://noaction"/>
            <a:extLst>
              <a:ext uri="{FF2B5EF4-FFF2-40B4-BE49-F238E27FC236}">
                <a16:creationId xmlns:a16="http://schemas.microsoft.com/office/drawing/2014/main" id="{A9D88D05-B555-4105-B160-2515484CE3B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190673" y="6518477"/>
            <a:ext cx="209737" cy="240601"/>
          </a:xfrm>
          <a:prstGeom prst="rect">
            <a:avLst/>
          </a:prstGeom>
        </p:spPr>
      </p:pic>
      <p:pic>
        <p:nvPicPr>
          <p:cNvPr id="10" name="Gráfico 9" descr="Bombilla y equipo">
            <a:hlinkClick r:id="" action="ppaction://noaction"/>
            <a:extLst>
              <a:ext uri="{FF2B5EF4-FFF2-40B4-BE49-F238E27FC236}">
                <a16:creationId xmlns:a16="http://schemas.microsoft.com/office/drawing/2014/main" id="{6BD3EDC8-38F5-49A5-8F3B-EAF423D92D94}"/>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944737" y="6547689"/>
            <a:ext cx="209737" cy="195908"/>
          </a:xfrm>
          <a:prstGeom prst="rect">
            <a:avLst/>
          </a:prstGeom>
        </p:spPr>
      </p:pic>
      <p:pic>
        <p:nvPicPr>
          <p:cNvPr id="11" name="Gráfico 10" descr="Repetir">
            <a:hlinkClick r:id="" action="ppaction://noaction"/>
            <a:extLst>
              <a:ext uri="{FF2B5EF4-FFF2-40B4-BE49-F238E27FC236}">
                <a16:creationId xmlns:a16="http://schemas.microsoft.com/office/drawing/2014/main" id="{417A97FF-C031-46D6-9330-26FE23D28EBE}"/>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0673612" y="6530871"/>
            <a:ext cx="220767" cy="231805"/>
          </a:xfrm>
          <a:prstGeom prst="rect">
            <a:avLst/>
          </a:prstGeom>
        </p:spPr>
      </p:pic>
      <p:pic>
        <p:nvPicPr>
          <p:cNvPr id="12" name="Gráfico 11" descr="Discurso">
            <a:hlinkClick r:id="" action="ppaction://noaction"/>
            <a:extLst>
              <a:ext uri="{FF2B5EF4-FFF2-40B4-BE49-F238E27FC236}">
                <a16:creationId xmlns:a16="http://schemas.microsoft.com/office/drawing/2014/main" id="{B07188C4-3463-4A9C-9C6C-52BAB98F6AAA}"/>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11764597" y="6530871"/>
            <a:ext cx="246492" cy="275455"/>
          </a:xfrm>
          <a:prstGeom prst="rect">
            <a:avLst/>
          </a:prstGeom>
        </p:spPr>
      </p:pic>
      <p:pic>
        <p:nvPicPr>
          <p:cNvPr id="13" name="Gráfico 12" descr="Diseño web">
            <a:hlinkClick r:id="" action="ppaction://noaction"/>
            <a:extLst>
              <a:ext uri="{FF2B5EF4-FFF2-40B4-BE49-F238E27FC236}">
                <a16:creationId xmlns:a16="http://schemas.microsoft.com/office/drawing/2014/main" id="{410D0330-7D7C-4386-998A-CDFFDCA73CD2}"/>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1458905" y="6524323"/>
            <a:ext cx="247197" cy="247197"/>
          </a:xfrm>
          <a:prstGeom prst="rect">
            <a:avLst/>
          </a:prstGeom>
        </p:spPr>
      </p:pic>
    </p:spTree>
    <p:extLst>
      <p:ext uri="{BB962C8B-B14F-4D97-AF65-F5344CB8AC3E}">
        <p14:creationId xmlns:p14="http://schemas.microsoft.com/office/powerpoint/2010/main" val="30826324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Blank-White">
    <p:spTree>
      <p:nvGrpSpPr>
        <p:cNvPr id="1" name=""/>
        <p:cNvGrpSpPr/>
        <p:nvPr/>
      </p:nvGrpSpPr>
      <p:grpSpPr>
        <a:xfrm>
          <a:off x="0" y="0"/>
          <a:ext cx="0" cy="0"/>
          <a:chOff x="0" y="0"/>
          <a:chExt cx="0" cy="0"/>
        </a:xfrm>
      </p:grpSpPr>
      <p:sp>
        <p:nvSpPr>
          <p:cNvPr id="3" name="Marcador de posición de imagen 2">
            <a:extLst>
              <a:ext uri="{FF2B5EF4-FFF2-40B4-BE49-F238E27FC236}">
                <a16:creationId xmlns:a16="http://schemas.microsoft.com/office/drawing/2014/main" id="{A8C9879A-2586-406A-A1CA-41C8D2799AD9}"/>
              </a:ext>
            </a:extLst>
          </p:cNvPr>
          <p:cNvSpPr>
            <a:spLocks noGrp="1"/>
          </p:cNvSpPr>
          <p:nvPr>
            <p:ph type="pic" sz="quarter" idx="11"/>
          </p:nvPr>
        </p:nvSpPr>
        <p:spPr>
          <a:xfrm>
            <a:off x="9353020" y="1879719"/>
            <a:ext cx="2594338" cy="2347376"/>
          </a:xfrm>
          <a:prstGeom prst="rect">
            <a:avLst/>
          </a:prstGeom>
          <a:ln w="63500" cap="rnd">
            <a:solidFill>
              <a:schemeClr val="bg1"/>
            </a:solidFill>
          </a:ln>
          <a:effectLst/>
          <a:extLst>
            <a:ext uri="{909E8E84-426E-40DD-AFC4-6F175D3DCCD1}">
              <a14:hiddenFill xmlns:a14="http://schemas.microsoft.com/office/drawing/2010/main">
                <a:solidFill>
                  <a:srgbClr val="FFFFFF"/>
                </a:solidFill>
              </a14:hiddenFill>
            </a:ext>
          </a:extLst>
        </p:spPr>
        <p:txBody>
          <a:bodyPr/>
          <a:lstStyle/>
          <a:p>
            <a:endParaRPr lang="en-GB" dirty="0"/>
          </a:p>
        </p:txBody>
      </p:sp>
      <p:grpSp>
        <p:nvGrpSpPr>
          <p:cNvPr id="36" name="Grupo 35">
            <a:extLst>
              <a:ext uri="{FF2B5EF4-FFF2-40B4-BE49-F238E27FC236}">
                <a16:creationId xmlns:a16="http://schemas.microsoft.com/office/drawing/2014/main" id="{D45DD7D4-0EB8-4E87-A575-5514A3195F93}"/>
              </a:ext>
            </a:extLst>
          </p:cNvPr>
          <p:cNvGrpSpPr/>
          <p:nvPr userDrawn="1"/>
        </p:nvGrpSpPr>
        <p:grpSpPr>
          <a:xfrm>
            <a:off x="8596132" y="-312"/>
            <a:ext cx="3595868" cy="1335848"/>
            <a:chOff x="3127029" y="829145"/>
            <a:chExt cx="8153400" cy="3028950"/>
          </a:xfrm>
        </p:grpSpPr>
        <p:pic>
          <p:nvPicPr>
            <p:cNvPr id="39" name="Imagen 38" descr="Imagen en blanco y negro&#10;&#10;Descripción generada automáticamente con confianza baja">
              <a:extLst>
                <a:ext uri="{FF2B5EF4-FFF2-40B4-BE49-F238E27FC236}">
                  <a16:creationId xmlns:a16="http://schemas.microsoft.com/office/drawing/2014/main" id="{453CF7CB-2A65-4001-BA33-E530036634C8}"/>
                </a:ext>
              </a:extLst>
            </p:cNvPr>
            <p:cNvPicPr>
              <a:picLocks noChangeAspect="1"/>
            </p:cNvPicPr>
            <p:nvPr/>
          </p:nvPicPr>
          <p:blipFill rotWithShape="1">
            <a:blip r:embed="rId2">
              <a:duotone>
                <a:prstClr val="black"/>
                <a:sysClr val="windowText" lastClr="000000">
                  <a:tint val="45000"/>
                  <a:satMod val="400000"/>
                </a:sysClr>
              </a:duotone>
              <a:alphaModFix/>
              <a:extLst>
                <a:ext uri="{BEBA8EAE-BF5A-486C-A8C5-ECC9F3942E4B}">
                  <a14:imgProps xmlns:a14="http://schemas.microsoft.com/office/drawing/2010/main">
                    <a14:imgLayer r:embed="rId3">
                      <a14:imgEffect>
                        <a14:colorTemperature colorTemp="6059"/>
                      </a14:imgEffect>
                      <a14:imgEffect>
                        <a14:saturation sat="399000"/>
                      </a14:imgEffect>
                    </a14:imgLayer>
                  </a14:imgProps>
                </a:ext>
              </a:extLst>
            </a:blip>
            <a:srcRect t="26633" r="21015" b="44025"/>
            <a:stretch/>
          </p:blipFill>
          <p:spPr>
            <a:xfrm>
              <a:off x="3127029" y="829145"/>
              <a:ext cx="8153400" cy="3028950"/>
            </a:xfrm>
            <a:prstGeom prst="rect">
              <a:avLst/>
            </a:prstGeom>
          </p:spPr>
        </p:pic>
        <p:sp>
          <p:nvSpPr>
            <p:cNvPr id="42" name="Rectángulo 41">
              <a:extLst>
                <a:ext uri="{FF2B5EF4-FFF2-40B4-BE49-F238E27FC236}">
                  <a16:creationId xmlns:a16="http://schemas.microsoft.com/office/drawing/2014/main" id="{C7C857BA-17F2-4FF6-94D4-FC4AD3EA7265}"/>
                </a:ext>
              </a:extLst>
            </p:cNvPr>
            <p:cNvSpPr/>
            <p:nvPr/>
          </p:nvSpPr>
          <p:spPr>
            <a:xfrm>
              <a:off x="6156756" y="2615873"/>
              <a:ext cx="2694045" cy="575738"/>
            </a:xfrm>
            <a:prstGeom prst="rect">
              <a:avLst/>
            </a:prstGeom>
            <a:noFill/>
          </p:spPr>
          <p:txBody>
            <a:bodyPr wrap="none" lIns="91440" tIns="45720" rIns="91440" bIns="45720">
              <a:spAutoFit/>
              <a:scene3d>
                <a:camera prst="isometricTopUp"/>
                <a:lightRig rig="threePt" dir="t"/>
              </a:scene3d>
            </a:bodyPr>
            <a:lstStyle/>
            <a:p>
              <a:pPr algn="ctr"/>
              <a:r>
                <a:rPr lang="es-ES" sz="1050" dirty="0">
                  <a:ln w="0"/>
                  <a:solidFill>
                    <a:srgbClr val="2B0A3D"/>
                  </a:solidFill>
                  <a:latin typeface="Ubuntu Mono" panose="020B0509030602030204" pitchFamily="49" charset="0"/>
                </a:rPr>
                <a:t>MLPs (SmartQA)</a:t>
              </a:r>
            </a:p>
          </p:txBody>
        </p:sp>
        <p:sp>
          <p:nvSpPr>
            <p:cNvPr id="50" name="Rectángulo 49">
              <a:extLst>
                <a:ext uri="{FF2B5EF4-FFF2-40B4-BE49-F238E27FC236}">
                  <a16:creationId xmlns:a16="http://schemas.microsoft.com/office/drawing/2014/main" id="{BA964A2C-3E7F-4634-AFC6-1D12C6521CF9}"/>
                </a:ext>
              </a:extLst>
            </p:cNvPr>
            <p:cNvSpPr/>
            <p:nvPr/>
          </p:nvSpPr>
          <p:spPr>
            <a:xfrm>
              <a:off x="8775745" y="2555970"/>
              <a:ext cx="1732747" cy="767650"/>
            </a:xfrm>
            <a:prstGeom prst="rect">
              <a:avLst/>
            </a:prstGeom>
            <a:noFill/>
          </p:spPr>
          <p:txBody>
            <a:bodyPr wrap="square" lIns="91440" tIns="45720" rIns="91440" bIns="45720">
              <a:spAutoFit/>
              <a:scene3d>
                <a:camera prst="isometricTopUp"/>
                <a:lightRig rig="threePt" dir="t"/>
              </a:scene3d>
            </a:bodyPr>
            <a:lstStyle/>
            <a:p>
              <a:pPr algn="ctr"/>
              <a:r>
                <a:rPr lang="es-ES" sz="800" dirty="0">
                  <a:ln w="0"/>
                  <a:solidFill>
                    <a:srgbClr val="2B0A3D"/>
                  </a:solidFill>
                  <a:latin typeface="Ubuntu" panose="020B0504030602030204" pitchFamily="34" charset="0"/>
                </a:rPr>
                <a:t>SOGETI SPAIN</a:t>
              </a:r>
            </a:p>
          </p:txBody>
        </p:sp>
      </p:grpSp>
      <p:sp>
        <p:nvSpPr>
          <p:cNvPr id="35" name="Freeform: Shape 20">
            <a:extLst>
              <a:ext uri="{FF2B5EF4-FFF2-40B4-BE49-F238E27FC236}">
                <a16:creationId xmlns:a16="http://schemas.microsoft.com/office/drawing/2014/main" id="{A4AAF1CE-1B9A-42AE-9244-B82E61D39F5D}"/>
              </a:ext>
            </a:extLst>
          </p:cNvPr>
          <p:cNvSpPr/>
          <p:nvPr userDrawn="1"/>
        </p:nvSpPr>
        <p:spPr>
          <a:xfrm flipH="1">
            <a:off x="9353020" y="3950368"/>
            <a:ext cx="2594338" cy="2568270"/>
          </a:xfrm>
          <a:custGeom>
            <a:avLst/>
            <a:gdLst>
              <a:gd name="connsiteX0" fmla="*/ 0 w 5251805"/>
              <a:gd name="connsiteY0" fmla="*/ 0 h 2893381"/>
              <a:gd name="connsiteX1" fmla="*/ 2979654 w 5251805"/>
              <a:gd name="connsiteY1" fmla="*/ 406610 h 2893381"/>
              <a:gd name="connsiteX2" fmla="*/ 5251722 w 5251805"/>
              <a:gd name="connsiteY2" fmla="*/ 2619108 h 2893381"/>
              <a:gd name="connsiteX3" fmla="*/ 5251805 w 5251805"/>
              <a:gd name="connsiteY3" fmla="*/ 2893381 h 2893381"/>
              <a:gd name="connsiteX4" fmla="*/ 0 w 5251805"/>
              <a:gd name="connsiteY4" fmla="*/ 2893381 h 2893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51805" h="2893381">
                <a:moveTo>
                  <a:pt x="0" y="0"/>
                </a:moveTo>
                <a:lnTo>
                  <a:pt x="2979654" y="406610"/>
                </a:lnTo>
                <a:cubicBezTo>
                  <a:pt x="4289952" y="585424"/>
                  <a:pt x="5251334" y="1521720"/>
                  <a:pt x="5251722" y="2619108"/>
                </a:cubicBezTo>
                <a:lnTo>
                  <a:pt x="5251805" y="2893381"/>
                </a:lnTo>
                <a:lnTo>
                  <a:pt x="0" y="2893381"/>
                </a:lnTo>
                <a:close/>
              </a:path>
            </a:pathLst>
          </a:custGeom>
          <a:solidFill>
            <a:schemeClr val="tx1">
              <a:lumMod val="85000"/>
              <a:lumOff val="15000"/>
              <a:alpha val="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400" b="0" i="0" u="none" strike="noStrike" kern="1200" cap="none" spc="0" normalizeH="0" baseline="0" noProof="0" dirty="0">
              <a:ln>
                <a:noFill/>
              </a:ln>
              <a:solidFill>
                <a:srgbClr val="000000"/>
              </a:solidFill>
              <a:effectLst/>
              <a:uLnTx/>
              <a:uFillTx/>
              <a:latin typeface="Verdana"/>
              <a:ea typeface="+mn-ea"/>
              <a:cs typeface="+mn-cs"/>
            </a:endParaRP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79814" y="6555758"/>
            <a:ext cx="2591986" cy="219456"/>
          </a:xfrm>
          <a:prstGeom prst="rect">
            <a:avLst/>
          </a:prstGeom>
        </p:spPr>
        <p:txBody>
          <a:bodyPr wrap="none" lIns="0" tIns="0" rIns="0" bIns="0" anchor="ctr">
            <a:noAutofit/>
          </a:bodyPr>
          <a:lstStyle/>
          <a:p>
            <a:pPr>
              <a:lnSpc>
                <a:spcPct val="100000"/>
              </a:lnSpc>
            </a:pPr>
            <a:r>
              <a:rPr lang="en-US" sz="800">
                <a:solidFill>
                  <a:schemeClr val="bg2">
                    <a:lumMod val="50000"/>
                  </a:schemeClr>
                </a:solidFill>
                <a:cs typeface="Arial" panose="020B0604020202020204" pitchFamily="34" charset="0"/>
              </a:rPr>
              <a:t>© 2020 Sogeti. All rights reserved.</a:t>
            </a:r>
          </a:p>
        </p:txBody>
      </p:sp>
      <p:sp>
        <p:nvSpPr>
          <p:cNvPr id="5" name="Freeform 16">
            <a:extLst>
              <a:ext uri="{FF2B5EF4-FFF2-40B4-BE49-F238E27FC236}">
                <a16:creationId xmlns:a16="http://schemas.microsoft.com/office/drawing/2014/main" id="{8784F769-4DA7-4C4F-B06E-5390DC3FD483}"/>
              </a:ext>
            </a:extLst>
          </p:cNvPr>
          <p:cNvSpPr/>
          <p:nvPr userDrawn="1"/>
        </p:nvSpPr>
        <p:spPr>
          <a:xfrm>
            <a:off x="-22987" y="0"/>
            <a:ext cx="5830955" cy="68580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solidFill>
            <a:srgbClr val="E5F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1" name="Title 1">
            <a:extLst>
              <a:ext uri="{FF2B5EF4-FFF2-40B4-BE49-F238E27FC236}">
                <a16:creationId xmlns:a16="http://schemas.microsoft.com/office/drawing/2014/main" id="{4EFC6D4F-5807-4D67-9D4D-1D7B42FF5C93}"/>
              </a:ext>
            </a:extLst>
          </p:cNvPr>
          <p:cNvSpPr txBox="1">
            <a:spLocks/>
          </p:cNvSpPr>
          <p:nvPr userDrawn="1"/>
        </p:nvSpPr>
        <p:spPr>
          <a:xfrm>
            <a:off x="4729088" y="377299"/>
            <a:ext cx="11376024" cy="479107"/>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r>
              <a:rPr lang="es-ES_tradnl" sz="2800" b="1" noProof="0" dirty="0">
                <a:solidFill>
                  <a:schemeClr val="accent1"/>
                </a:solidFill>
                <a:latin typeface="Ubuntu Mono" panose="020B0509030602030204" pitchFamily="49" charset="0"/>
              </a:rPr>
              <a:t>Enfoque</a:t>
            </a:r>
          </a:p>
        </p:txBody>
      </p:sp>
      <p:sp>
        <p:nvSpPr>
          <p:cNvPr id="24" name="Title 1">
            <a:extLst>
              <a:ext uri="{FF2B5EF4-FFF2-40B4-BE49-F238E27FC236}">
                <a16:creationId xmlns:a16="http://schemas.microsoft.com/office/drawing/2014/main" id="{73A582A1-67C5-4C6D-91B5-9CE6FDB1877E}"/>
              </a:ext>
            </a:extLst>
          </p:cNvPr>
          <p:cNvSpPr txBox="1">
            <a:spLocks/>
          </p:cNvSpPr>
          <p:nvPr userDrawn="1"/>
        </p:nvSpPr>
        <p:spPr>
          <a:xfrm>
            <a:off x="4729268" y="787683"/>
            <a:ext cx="2813321" cy="479107"/>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r>
              <a:rPr lang="es-ES_tradnl" sz="1600" i="0" noProof="0">
                <a:solidFill>
                  <a:schemeClr val="accent1"/>
                </a:solidFill>
                <a:latin typeface="Ubuntu Light" panose="020B0304030602030204" pitchFamily="34" charset="0"/>
              </a:rPr>
              <a:t>¿Qué hacemos y como?</a:t>
            </a:r>
          </a:p>
        </p:txBody>
      </p:sp>
      <p:sp>
        <p:nvSpPr>
          <p:cNvPr id="33" name="Marcador de texto 32">
            <a:extLst>
              <a:ext uri="{FF2B5EF4-FFF2-40B4-BE49-F238E27FC236}">
                <a16:creationId xmlns:a16="http://schemas.microsoft.com/office/drawing/2014/main" id="{7249E9AA-9773-4C10-8E5B-39831154715B}"/>
              </a:ext>
            </a:extLst>
          </p:cNvPr>
          <p:cNvSpPr>
            <a:spLocks noGrp="1"/>
          </p:cNvSpPr>
          <p:nvPr>
            <p:ph type="body" sz="quarter" idx="10"/>
          </p:nvPr>
        </p:nvSpPr>
        <p:spPr>
          <a:xfrm>
            <a:off x="10038347" y="4674432"/>
            <a:ext cx="1909011" cy="1806269"/>
          </a:xfrm>
          <a:prstGeom prst="rect">
            <a:avLst/>
          </a:prstGeom>
        </p:spPr>
        <p:txBody>
          <a:bodyPr/>
          <a:lstStyle>
            <a:lvl1pPr>
              <a:lnSpc>
                <a:spcPct val="100000"/>
              </a:lnSpc>
              <a:defRPr lang="es-ES" sz="1400" kern="1200" dirty="0" smtClean="0">
                <a:solidFill>
                  <a:schemeClr val="accent3"/>
                </a:solidFill>
                <a:latin typeface="Ubuntu Light" panose="020B0304030602030204" pitchFamily="34" charset="0"/>
                <a:ea typeface="+mn-ea"/>
                <a:cs typeface="+mn-cs"/>
              </a:defRPr>
            </a:lvl1pPr>
            <a:lvl2pPr>
              <a:lnSpc>
                <a:spcPct val="100000"/>
              </a:lnSpc>
              <a:defRPr lang="es-ES" sz="1400" kern="1200" dirty="0" smtClean="0">
                <a:solidFill>
                  <a:schemeClr val="accent3"/>
                </a:solidFill>
                <a:latin typeface="Ubuntu Light" panose="020B0304030602030204" pitchFamily="34" charset="0"/>
                <a:ea typeface="+mn-ea"/>
                <a:cs typeface="+mn-cs"/>
              </a:defRPr>
            </a:lvl2pPr>
            <a:lvl3pPr>
              <a:lnSpc>
                <a:spcPct val="100000"/>
              </a:lnSpc>
              <a:defRPr lang="es-ES" sz="1400" kern="1200" dirty="0" smtClean="0">
                <a:solidFill>
                  <a:schemeClr val="accent3"/>
                </a:solidFill>
                <a:latin typeface="Ubuntu Light" panose="020B0304030602030204" pitchFamily="34" charset="0"/>
                <a:ea typeface="+mn-ea"/>
                <a:cs typeface="+mn-cs"/>
              </a:defRPr>
            </a:lvl3pPr>
            <a:lvl4pPr>
              <a:lnSpc>
                <a:spcPct val="100000"/>
              </a:lnSpc>
              <a:defRPr lang="es-ES" sz="1400" kern="1200" dirty="0" smtClean="0">
                <a:solidFill>
                  <a:schemeClr val="accent3"/>
                </a:solidFill>
                <a:latin typeface="Ubuntu Light" panose="020B0304030602030204" pitchFamily="34" charset="0"/>
                <a:ea typeface="+mn-ea"/>
                <a:cs typeface="+mn-cs"/>
              </a:defRPr>
            </a:lvl4pPr>
            <a:lvl5pPr>
              <a:lnSpc>
                <a:spcPct val="100000"/>
              </a:lnSpc>
              <a:defRPr lang="en-GB" sz="1400" kern="1200" dirty="0">
                <a:solidFill>
                  <a:schemeClr val="accent3"/>
                </a:solidFill>
                <a:latin typeface="Ubuntu Light" panose="020B0304030602030204" pitchFamily="34" charset="0"/>
                <a:ea typeface="+mn-ea"/>
                <a:cs typeface="+mn-cs"/>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GB" dirty="0"/>
          </a:p>
        </p:txBody>
      </p:sp>
      <p:sp>
        <p:nvSpPr>
          <p:cNvPr id="37" name="Title 1">
            <a:extLst>
              <a:ext uri="{FF2B5EF4-FFF2-40B4-BE49-F238E27FC236}">
                <a16:creationId xmlns:a16="http://schemas.microsoft.com/office/drawing/2014/main" id="{0BE45C9D-D59B-4862-B83E-6E5B1DF13AC2}"/>
              </a:ext>
            </a:extLst>
          </p:cNvPr>
          <p:cNvSpPr txBox="1">
            <a:spLocks/>
          </p:cNvSpPr>
          <p:nvPr userDrawn="1"/>
        </p:nvSpPr>
        <p:spPr>
          <a:xfrm>
            <a:off x="696022" y="3032384"/>
            <a:ext cx="11376024" cy="479107"/>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r>
              <a:rPr lang="es-ES_tradnl" sz="2800" b="1" noProof="0" dirty="0">
                <a:solidFill>
                  <a:schemeClr val="accent1"/>
                </a:solidFill>
                <a:latin typeface="Ubuntu Mono" panose="020B0509030602030204" pitchFamily="49" charset="0"/>
              </a:rPr>
              <a:t>Descripción</a:t>
            </a:r>
          </a:p>
        </p:txBody>
      </p:sp>
      <p:sp>
        <p:nvSpPr>
          <p:cNvPr id="38" name="Title 1">
            <a:extLst>
              <a:ext uri="{FF2B5EF4-FFF2-40B4-BE49-F238E27FC236}">
                <a16:creationId xmlns:a16="http://schemas.microsoft.com/office/drawing/2014/main" id="{37025ADD-45F0-4223-80D2-9D5BC34E8904}"/>
              </a:ext>
            </a:extLst>
          </p:cNvPr>
          <p:cNvSpPr txBox="1">
            <a:spLocks/>
          </p:cNvSpPr>
          <p:nvPr userDrawn="1"/>
        </p:nvSpPr>
        <p:spPr>
          <a:xfrm>
            <a:off x="696022" y="3395525"/>
            <a:ext cx="2813321" cy="479107"/>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r>
              <a:rPr lang="es-ES_tradnl" sz="1600" b="0" i="0" noProof="0">
                <a:solidFill>
                  <a:schemeClr val="accent1"/>
                </a:solidFill>
                <a:latin typeface="Ubuntu Light" panose="020B0304030602030204" pitchFamily="34" charset="0"/>
              </a:rPr>
              <a:t>del caso de aplicación</a:t>
            </a:r>
          </a:p>
        </p:txBody>
      </p:sp>
      <p:sp>
        <p:nvSpPr>
          <p:cNvPr id="34" name="TextBox 28">
            <a:extLst>
              <a:ext uri="{FF2B5EF4-FFF2-40B4-BE49-F238E27FC236}">
                <a16:creationId xmlns:a16="http://schemas.microsoft.com/office/drawing/2014/main" id="{D15A851C-EB84-442E-8D1F-ACCC8F42B42B}"/>
              </a:ext>
            </a:extLst>
          </p:cNvPr>
          <p:cNvSpPr txBox="1"/>
          <p:nvPr userDrawn="1"/>
        </p:nvSpPr>
        <p:spPr>
          <a:xfrm>
            <a:off x="9441321" y="4730269"/>
            <a:ext cx="1034695" cy="459806"/>
          </a:xfrm>
          <a:prstGeom prst="rect">
            <a:avLst/>
          </a:prstGeom>
          <a:noFill/>
        </p:spPr>
        <p:txBody>
          <a:bodyPr wrap="square" rtlCol="0">
            <a:spAutoFit/>
          </a:bodyPr>
          <a:lstStyle/>
          <a:p>
            <a:pPr marL="0" marR="0" lvl="0" indent="0" algn="l" defTabSz="914400" rtl="0" eaLnBrk="1" fontAlgn="auto" latinLnBrk="0" hangingPunct="1">
              <a:lnSpc>
                <a:spcPct val="25000"/>
              </a:lnSpc>
              <a:spcBef>
                <a:spcPts val="0"/>
              </a:spcBef>
              <a:spcAft>
                <a:spcPts val="0"/>
              </a:spcAft>
              <a:buClrTx/>
              <a:buSzTx/>
              <a:buFontTx/>
              <a:buNone/>
              <a:tabLst/>
              <a:defRPr/>
            </a:pPr>
            <a:r>
              <a:rPr kumimoji="0" lang="en-GB" sz="8800" b="0" i="0" u="none" strike="noStrike" kern="1200" cap="none" spc="0" normalizeH="0" baseline="-25000" noProof="0" dirty="0">
                <a:ln>
                  <a:noFill/>
                </a:ln>
                <a:solidFill>
                  <a:prstClr val="white">
                    <a:lumMod val="65000"/>
                  </a:prstClr>
                </a:solidFill>
                <a:effectLst/>
                <a:uLnTx/>
                <a:uFillTx/>
                <a:latin typeface="Arial Black" panose="020B0A04020102020204" pitchFamily="34" charset="0"/>
                <a:ea typeface="+mn-ea"/>
                <a:cs typeface="Arabic Typesetting" panose="020B0604020202020204" pitchFamily="66" charset="-78"/>
              </a:rPr>
              <a:t>“</a:t>
            </a:r>
          </a:p>
        </p:txBody>
      </p:sp>
      <p:pic>
        <p:nvPicPr>
          <p:cNvPr id="51" name="Picture 10">
            <a:extLst>
              <a:ext uri="{FF2B5EF4-FFF2-40B4-BE49-F238E27FC236}">
                <a16:creationId xmlns:a16="http://schemas.microsoft.com/office/drawing/2014/main" id="{7995778D-8CAA-4ED0-AD95-44393B2749D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391323" y="131638"/>
            <a:ext cx="1002743" cy="521574"/>
          </a:xfrm>
          <a:prstGeom prst="rect">
            <a:avLst/>
          </a:prstGeom>
        </p:spPr>
      </p:pic>
      <p:pic>
        <p:nvPicPr>
          <p:cNvPr id="53" name="Imagen 52" descr="Imagen en blanco y negro de la luna&#10;&#10;Descripción generada automáticamente con confianza baja">
            <a:extLst>
              <a:ext uri="{FF2B5EF4-FFF2-40B4-BE49-F238E27FC236}">
                <a16:creationId xmlns:a16="http://schemas.microsoft.com/office/drawing/2014/main" id="{EFDFE978-5869-4480-8F0F-E70E8203A22A}"/>
              </a:ext>
            </a:extLst>
          </p:cNvPr>
          <p:cNvPicPr>
            <a:picLocks noChangeAspect="1"/>
          </p:cNvPicPr>
          <p:nvPr userDrawn="1"/>
        </p:nvPicPr>
        <p:blipFill>
          <a:blip r:embed="rId5"/>
          <a:stretch>
            <a:fillRect/>
          </a:stretch>
        </p:blipFill>
        <p:spPr>
          <a:xfrm>
            <a:off x="9353020" y="2349660"/>
            <a:ext cx="2389241" cy="1335848"/>
          </a:xfrm>
          <a:prstGeom prst="rect">
            <a:avLst/>
          </a:prstGeom>
          <a:ln>
            <a:noFill/>
          </a:ln>
        </p:spPr>
      </p:pic>
      <p:sp>
        <p:nvSpPr>
          <p:cNvPr id="22" name="Title Placeholder 1">
            <a:extLst>
              <a:ext uri="{FF2B5EF4-FFF2-40B4-BE49-F238E27FC236}">
                <a16:creationId xmlns:a16="http://schemas.microsoft.com/office/drawing/2014/main" id="{47935A0D-5926-6341-B743-1E6863AEB174}"/>
              </a:ext>
            </a:extLst>
          </p:cNvPr>
          <p:cNvSpPr>
            <a:spLocks noGrp="1"/>
          </p:cNvSpPr>
          <p:nvPr>
            <p:ph type="title" hasCustomPrompt="1"/>
          </p:nvPr>
        </p:nvSpPr>
        <p:spPr>
          <a:xfrm>
            <a:off x="696022" y="601781"/>
            <a:ext cx="2979523" cy="1747879"/>
          </a:xfrm>
          <a:prstGeom prst="rect">
            <a:avLst/>
          </a:prstGeom>
        </p:spPr>
        <p:txBody>
          <a:bodyPr vert="horz" lIns="0" tIns="0" rIns="0" bIns="0" rtlCol="0" anchor="t">
            <a:noAutofit/>
          </a:bodyPr>
          <a:lstStyle>
            <a:lvl1pPr algn="l">
              <a:lnSpc>
                <a:spcPts val="4000"/>
              </a:lnSpc>
              <a:defRPr lang="pt-PT" sz="4000" b="1" i="0" dirty="0">
                <a:solidFill>
                  <a:schemeClr val="accent3"/>
                </a:solidFill>
                <a:latin typeface="Ubuntu" panose="020B0504030602030204" pitchFamily="34" charset="0"/>
              </a:defRPr>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6986947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5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4" grpId="0"/>
    </p:bld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8_Cover2">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5" name="Oval 4"/>
          <p:cNvSpPr/>
          <p:nvPr userDrawn="1"/>
        </p:nvSpPr>
        <p:spPr>
          <a:xfrm>
            <a:off x="5349241" y="232141"/>
            <a:ext cx="6450012" cy="64500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1400">
              <a:solidFill>
                <a:schemeClr val="tx1"/>
              </a:solidFill>
            </a:endParaRPr>
          </a:p>
        </p:txBody>
      </p:sp>
      <p:sp>
        <p:nvSpPr>
          <p:cNvPr id="8" name="Title 1"/>
          <p:cNvSpPr>
            <a:spLocks noGrp="1"/>
          </p:cNvSpPr>
          <p:nvPr>
            <p:ph type="ctrTitle" hasCustomPrompt="1"/>
          </p:nvPr>
        </p:nvSpPr>
        <p:spPr>
          <a:xfrm>
            <a:off x="5700932" y="2778614"/>
            <a:ext cx="5781797"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accent3"/>
                </a:solidFill>
              </a:defRPr>
            </a:lvl1pPr>
          </a:lstStyle>
          <a:p>
            <a:pPr marL="0" lvl="0"/>
            <a:r>
              <a:rPr lang="en-US"/>
              <a:t>Title of Presentation</a:t>
            </a:r>
          </a:p>
        </p:txBody>
      </p:sp>
      <p:sp>
        <p:nvSpPr>
          <p:cNvPr id="9" name="Subtitle 2"/>
          <p:cNvSpPr>
            <a:spLocks noGrp="1"/>
          </p:cNvSpPr>
          <p:nvPr>
            <p:ph type="subTitle" idx="1" hasCustomPrompt="1"/>
          </p:nvPr>
        </p:nvSpPr>
        <p:spPr>
          <a:xfrm>
            <a:off x="5700932" y="3693013"/>
            <a:ext cx="578179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a:t>Subtitle</a:t>
            </a:r>
          </a:p>
        </p:txBody>
      </p:sp>
    </p:spTree>
    <p:extLst>
      <p:ext uri="{BB962C8B-B14F-4D97-AF65-F5344CB8AC3E}">
        <p14:creationId xmlns:p14="http://schemas.microsoft.com/office/powerpoint/2010/main" val="246320620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x">
  <p:cSld name="7_Cover2">
    <p:spTree>
      <p:nvGrpSpPr>
        <p:cNvPr id="1" name=""/>
        <p:cNvGrpSpPr/>
        <p:nvPr/>
      </p:nvGrpSpPr>
      <p:grpSpPr>
        <a:xfrm>
          <a:off x="0" y="0"/>
          <a:ext cx="0" cy="0"/>
          <a:chOff x="0" y="0"/>
          <a:chExt cx="0" cy="0"/>
        </a:xfrm>
      </p:grpSpPr>
      <p:sp>
        <p:nvSpPr>
          <p:cNvPr id="540" name="Número de diapositiva"/>
          <p:cNvSpPr>
            <a:spLocks noGrp="1"/>
          </p:cNvSpPr>
          <p:nvPr>
            <p:ph type="sldNum" sz="quarter" idx="2"/>
          </p:nvPr>
        </p:nvSpPr>
        <p:spPr>
          <a:xfrm>
            <a:off x="8213097" y="6171686"/>
            <a:ext cx="524503" cy="369330"/>
          </a:xfrm>
          <a:prstGeom prst="rect">
            <a:avLst/>
          </a:prstGeom>
        </p:spPr>
        <p:txBody>
          <a:bodyPr anchor="ctr"/>
          <a:lstStyle>
            <a:lvl1pPr>
              <a:defRPr sz="1200">
                <a:solidFill>
                  <a:srgbClr val="000000"/>
                </a:solidFill>
              </a:defRPr>
            </a:lvl1pPr>
          </a:lstStyle>
          <a:p>
            <a:fld id="{86CB4B4D-7CA3-9044-876B-883B54F8677D}" type="slidenum">
              <a:t>‹#›</a:t>
            </a:fld>
            <a:endParaRPr/>
          </a:p>
        </p:txBody>
      </p:sp>
      <p:sp>
        <p:nvSpPr>
          <p:cNvPr id="4" name="Retângulo 43">
            <a:extLst>
              <a:ext uri="{FF2B5EF4-FFF2-40B4-BE49-F238E27FC236}">
                <a16:creationId xmlns:a16="http://schemas.microsoft.com/office/drawing/2014/main" id="{93E7F356-56E8-412E-9185-F29C1775AAF0}"/>
              </a:ext>
            </a:extLst>
          </p:cNvPr>
          <p:cNvSpPr/>
          <p:nvPr userDrawn="1"/>
        </p:nvSpPr>
        <p:spPr>
          <a:xfrm>
            <a:off x="9256929" y="6586492"/>
            <a:ext cx="2725673" cy="180425"/>
          </a:xfrm>
          <a:prstGeom prst="rect">
            <a:avLst/>
          </a:prstGeom>
        </p:spPr>
        <p:txBody>
          <a:bodyPr wrap="none" lIns="36000" tIns="36000" rIns="36000" bIns="3600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dirty="0">
                <a:solidFill>
                  <a:schemeClr val="bg2">
                    <a:lumMod val="50000"/>
                  </a:schemeClr>
                </a:solidFill>
                <a:cs typeface="Arial" panose="020B0604020202020204" pitchFamily="34" charset="0"/>
              </a:rPr>
              <a:t>Company confidential   © 2021 Sogeti. All rights reserved.</a:t>
            </a:r>
            <a:endParaRPr lang="en-US" sz="700" dirty="0">
              <a:solidFill>
                <a:schemeClr val="bg2">
                  <a:lumMod val="50000"/>
                </a:schemeClr>
              </a:solidFill>
            </a:endParaRPr>
          </a:p>
        </p:txBody>
      </p:sp>
    </p:spTree>
    <p:extLst>
      <p:ext uri="{BB962C8B-B14F-4D97-AF65-F5344CB8AC3E}">
        <p14:creationId xmlns:p14="http://schemas.microsoft.com/office/powerpoint/2010/main" val="995514265"/>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3">
    <p:spTree>
      <p:nvGrpSpPr>
        <p:cNvPr id="1" name=""/>
        <p:cNvGrpSpPr/>
        <p:nvPr/>
      </p:nvGrpSpPr>
      <p:grpSpPr>
        <a:xfrm>
          <a:off x="0" y="0"/>
          <a:ext cx="0" cy="0"/>
          <a:chOff x="0" y="0"/>
          <a:chExt cx="0" cy="0"/>
        </a:xfrm>
      </p:grpSpPr>
      <p:sp>
        <p:nvSpPr>
          <p:cNvPr id="10" name="Freeform 9"/>
          <p:cNvSpPr/>
          <p:nvPr userDrawn="1"/>
        </p:nvSpPr>
        <p:spPr>
          <a:xfrm>
            <a:off x="0" y="0"/>
            <a:ext cx="6096000" cy="5796064"/>
          </a:xfrm>
          <a:custGeom>
            <a:avLst/>
            <a:gdLst>
              <a:gd name="connsiteX0" fmla="*/ 0 w 6096000"/>
              <a:gd name="connsiteY0" fmla="*/ 0 h 5796064"/>
              <a:gd name="connsiteX1" fmla="*/ 6096000 w 6096000"/>
              <a:gd name="connsiteY1" fmla="*/ 0 h 5796064"/>
              <a:gd name="connsiteX2" fmla="*/ 6096000 w 6096000"/>
              <a:gd name="connsiteY2" fmla="*/ 133757 h 5796064"/>
              <a:gd name="connsiteX3" fmla="*/ 6096000 w 6096000"/>
              <a:gd name="connsiteY3" fmla="*/ 4034055 h 5796064"/>
              <a:gd name="connsiteX4" fmla="*/ 0 w 6096000"/>
              <a:gd name="connsiteY4" fmla="*/ 5309105 h 5796064"/>
              <a:gd name="connsiteX5" fmla="*/ 0 w 6096000"/>
              <a:gd name="connsiteY5" fmla="*/ 8972 h 5796064"/>
              <a:gd name="connsiteX6" fmla="*/ 0 w 6096000"/>
              <a:gd name="connsiteY6" fmla="*/ 0 h 57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96064">
                <a:moveTo>
                  <a:pt x="0" y="0"/>
                </a:moveTo>
                <a:lnTo>
                  <a:pt x="6096000" y="0"/>
                </a:lnTo>
                <a:lnTo>
                  <a:pt x="6096000" y="133757"/>
                </a:lnTo>
                <a:cubicBezTo>
                  <a:pt x="6096000" y="1105896"/>
                  <a:pt x="6096000" y="2375629"/>
                  <a:pt x="6096000" y="4034055"/>
                </a:cubicBezTo>
                <a:cubicBezTo>
                  <a:pt x="6096000" y="6848354"/>
                  <a:pt x="721895" y="5492896"/>
                  <a:pt x="0" y="5309105"/>
                </a:cubicBezTo>
                <a:cubicBezTo>
                  <a:pt x="0" y="5309105"/>
                  <a:pt x="0" y="5309105"/>
                  <a:pt x="0" y="897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5" name="Rectangle 14"/>
          <p:cNvSpPr/>
          <p:nvPr userDrawn="1"/>
        </p:nvSpPr>
        <p:spPr>
          <a:xfrm>
            <a:off x="7155492" y="2453640"/>
            <a:ext cx="2219960"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b="1">
                <a:solidFill>
                  <a:schemeClr val="accent3"/>
                </a:solidFill>
                <a:latin typeface="Ubuntu" panose="020B0504030602030204" pitchFamily="34" charset="0"/>
              </a:rPr>
              <a:t>About Sogeti</a:t>
            </a:r>
          </a:p>
        </p:txBody>
      </p:sp>
      <p:sp>
        <p:nvSpPr>
          <p:cNvPr id="16" name="Rectangle 15"/>
          <p:cNvSpPr/>
          <p:nvPr userDrawn="1"/>
        </p:nvSpPr>
        <p:spPr>
          <a:xfrm>
            <a:off x="7166306" y="6109829"/>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ct val="100000"/>
              </a:lnSpc>
              <a:spcAft>
                <a:spcPts val="400"/>
              </a:spcAft>
            </a:pPr>
            <a:r>
              <a:rPr lang="en-US" sz="900" err="1">
                <a:solidFill>
                  <a:schemeClr val="tx1"/>
                </a:solidFill>
                <a:latin typeface="Ubuntu" panose="020B0504030602030204" pitchFamily="34" charset="0"/>
              </a:rPr>
              <a:t>Visítanos</a:t>
            </a:r>
            <a:r>
              <a:rPr lang="en-US" sz="900">
                <a:solidFill>
                  <a:schemeClr val="tx1"/>
                </a:solidFill>
                <a:latin typeface="Ubuntu" panose="020B0504030602030204" pitchFamily="34" charset="0"/>
              </a:rPr>
              <a:t> en:</a:t>
            </a:r>
            <a:endParaRPr lang="en-US" sz="900">
              <a:solidFill>
                <a:schemeClr val="accent3"/>
              </a:solidFill>
              <a:latin typeface="Ubuntu" panose="020B0504030602030204" pitchFamily="34" charset="0"/>
            </a:endParaRPr>
          </a:p>
          <a:p>
            <a:pPr algn="l">
              <a:lnSpc>
                <a:spcPct val="100000"/>
              </a:lnSpc>
              <a:spcAft>
                <a:spcPts val="400"/>
              </a:spcAft>
            </a:pPr>
            <a:r>
              <a:rPr lang="en-US" sz="1050" b="1">
                <a:solidFill>
                  <a:schemeClr val="accent3"/>
                </a:solidFill>
                <a:latin typeface="Ubuntu" panose="020B0504030602030204" pitchFamily="34" charset="0"/>
              </a:rPr>
              <a:t>www.sogeti.es</a:t>
            </a:r>
          </a:p>
        </p:txBody>
      </p:sp>
      <p:sp>
        <p:nvSpPr>
          <p:cNvPr id="30" name="Rectangle 29">
            <a:hlinkClick r:id="rId2"/>
          </p:cNvPr>
          <p:cNvSpPr/>
          <p:nvPr userDrawn="1"/>
        </p:nvSpPr>
        <p:spPr>
          <a:xfrm>
            <a:off x="7186450" y="6129326"/>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Ubuntu" panose="020B0504030602030204" pitchFamily="34" charset="0"/>
            </a:endParaRPr>
          </a:p>
        </p:txBody>
      </p:sp>
      <p:sp>
        <p:nvSpPr>
          <p:cNvPr id="23" name="Rectangle 22"/>
          <p:cNvSpPr/>
          <p:nvPr userDrawn="1"/>
        </p:nvSpPr>
        <p:spPr>
          <a:xfrm>
            <a:off x="420526" y="4596379"/>
            <a:ext cx="3999073" cy="446276"/>
          </a:xfrm>
          <a:prstGeom prst="rect">
            <a:avLst/>
          </a:prstGeom>
        </p:spPr>
        <p:txBody>
          <a:bodyPr wrap="square" lIns="0" tIns="0" rIns="0" bIns="0" anchor="b" anchorCtr="0">
            <a:spAutoFit/>
          </a:bodyPr>
          <a:lstStyle/>
          <a:p>
            <a:pPr algn="l">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lgn="l">
              <a:spcAft>
                <a:spcPts val="600"/>
              </a:spcAft>
            </a:pPr>
            <a:r>
              <a:rPr lang="en-US" sz="800" noProof="0" dirty="0">
                <a:solidFill>
                  <a:schemeClr val="bg1"/>
                </a:solidFill>
                <a:latin typeface="+mn-lt"/>
                <a:cs typeface="Arial"/>
              </a:rPr>
              <a:t>Copyright</a:t>
            </a:r>
            <a:r>
              <a:rPr lang="en-US" sz="800" baseline="30000" noProof="0" dirty="0">
                <a:solidFill>
                  <a:schemeClr val="bg1"/>
                </a:solidFill>
                <a:latin typeface="+mn-lt"/>
                <a:cs typeface="Arial"/>
              </a:rPr>
              <a:t>©</a:t>
            </a:r>
            <a:r>
              <a:rPr lang="en-US" sz="800" noProof="0" dirty="0">
                <a:solidFill>
                  <a:schemeClr val="bg1"/>
                </a:solidFill>
                <a:latin typeface="+mn-lt"/>
                <a:cs typeface="Arial"/>
              </a:rPr>
              <a:t> 2022 Sogeti. All rights reserved.</a:t>
            </a: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9" name="Picture 2" descr="D:\My Work\Template\Icons\Social Media\LinkedIN.png">
            <a:hlinkClick r:id="rId4"/>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5" cstate="print"/>
          <a:srcRect/>
          <a:stretch>
            <a:fillRect/>
          </a:stretch>
        </p:blipFill>
        <p:spPr bwMode="auto">
          <a:xfrm>
            <a:off x="420526" y="3962400"/>
            <a:ext cx="333195" cy="333195"/>
          </a:xfrm>
          <a:prstGeom prst="rect">
            <a:avLst/>
          </a:prstGeom>
          <a:noFill/>
        </p:spPr>
      </p:pic>
      <p:pic>
        <p:nvPicPr>
          <p:cNvPr id="12" name="Picture 5" descr="D:\My Work\Template\Icons\Social Media\Twitter.png">
            <a:hlinkClick r:id="rId6"/>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7" cstate="print"/>
          <a:srcRect/>
          <a:stretch>
            <a:fillRect/>
          </a:stretch>
        </p:blipFill>
        <p:spPr bwMode="auto">
          <a:xfrm>
            <a:off x="803902" y="3962400"/>
            <a:ext cx="333195" cy="333195"/>
          </a:xfrm>
          <a:prstGeom prst="rect">
            <a:avLst/>
          </a:prstGeom>
          <a:noFill/>
        </p:spPr>
      </p:pic>
      <p:pic>
        <p:nvPicPr>
          <p:cNvPr id="13" name="Picture 6" descr="D:\My Work\Template\Icons\Social Media\YouTube.png">
            <a:hlinkClick r:id="rId8"/>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9" cstate="print"/>
          <a:srcRect/>
          <a:stretch>
            <a:fillRect/>
          </a:stretch>
        </p:blipFill>
        <p:spPr bwMode="auto">
          <a:xfrm>
            <a:off x="1187278" y="3962400"/>
            <a:ext cx="333195" cy="333195"/>
          </a:xfrm>
          <a:prstGeom prst="rect">
            <a:avLst/>
          </a:prstGeom>
          <a:noFill/>
        </p:spPr>
      </p:pic>
      <p:sp>
        <p:nvSpPr>
          <p:cNvPr id="17" name="Rectangle 16">
            <a:extLst>
              <a:ext uri="{FF2B5EF4-FFF2-40B4-BE49-F238E27FC236}">
                <a16:creationId xmlns:a16="http://schemas.microsoft.com/office/drawing/2014/main" id="{7C9E7AB6-360B-4526-A05F-E716E577D207}"/>
              </a:ext>
            </a:extLst>
          </p:cNvPr>
          <p:cNvSpPr/>
          <p:nvPr userDrawn="1"/>
        </p:nvSpPr>
        <p:spPr>
          <a:xfrm>
            <a:off x="7155492" y="3043808"/>
            <a:ext cx="4371406"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s-ES" sz="800" b="0" i="0" kern="1200" dirty="0">
                <a:solidFill>
                  <a:schemeClr val="tx2"/>
                </a:solidFill>
                <a:effectLst/>
                <a:latin typeface="Ubuntu" panose="020B0504030602030204" pitchFamily="34" charset="0"/>
                <a:ea typeface="+mn-ea"/>
                <a:cs typeface="+mn-cs"/>
              </a:rPr>
              <a:t>Como parte del Grupo Capgemini, Sogeti opera en más de 100 localizaciones a nivel mundial. Trabajando estrechamente con clientes y socios para aprovechar al máximo las oportunidades de la tecnología, Sogeti combina agilidad y velocidad de implementación  para  diseñar  soluciones  innovadoras  enfocadas  al  futuro  en Digital Assurance &amp; Testing,  Cloud  y Ciberseguridad,  y  todo  ello,  impulsado  por  IA  y  automatización.  Con  su  enfoque  práctico  y  su  pasión  por  la tecnología, Sogeti ayuda a las organizaciones a implementar su transformación digital a gran velocidad. </a:t>
            </a:r>
          </a:p>
          <a:p>
            <a:pPr algn="just"/>
            <a:endParaRPr lang="es-ES" sz="800" b="0" i="0" kern="1200" dirty="0">
              <a:solidFill>
                <a:schemeClr val="tx2"/>
              </a:solidFill>
              <a:effectLst/>
              <a:latin typeface="Ubuntu" panose="020B0504030602030204" pitchFamily="34" charset="0"/>
              <a:ea typeface="+mn-ea"/>
              <a:cs typeface="+mn-cs"/>
            </a:endParaRPr>
          </a:p>
          <a:p>
            <a:pPr algn="just"/>
            <a:r>
              <a:rPr lang="es-ES" sz="800" b="0" i="0" kern="1200" dirty="0">
                <a:solidFill>
                  <a:schemeClr val="tx2"/>
                </a:solidFill>
                <a:effectLst/>
                <a:latin typeface="Ubuntu" panose="020B0504030602030204" pitchFamily="34" charset="0"/>
                <a:ea typeface="+mn-ea"/>
                <a:cs typeface="+mn-cs"/>
              </a:rPr>
              <a:t>Capgemini   es   un   líder global en consultoría, transformación digital, servicios de tecnología e   ingeniería. El Grupo Capgemini está a la vanguardia de la innovación para abordar la diversidad de oportunidades que tienen sus clientes en el dinámico mundo de las plataformas, la nube y lo digital. Respaldada por una sólida trayectoria de más de 50 años y una dilatada experiencia multisectorial, Capgemini ayuda a las compañías a alcanzar sus objetivos de negocio mediante una amplia gama de servicios que cubre desde la estrategia, hasta las operaciones. Capgemini actúa bajo la firme convicción de que el valor de negocio de la tecnología se genera y desarrolla a través de las personas. Hoy es una compañía multicultural de 270.000 profesionales, presente en casi 50países. Con </a:t>
            </a:r>
            <a:r>
              <a:rPr lang="es-ES" sz="800" b="0" i="0" kern="1200" dirty="0" err="1">
                <a:solidFill>
                  <a:schemeClr val="tx2"/>
                </a:solidFill>
                <a:effectLst/>
                <a:latin typeface="Ubuntu" panose="020B0504030602030204" pitchFamily="34" charset="0"/>
                <a:ea typeface="+mn-ea"/>
                <a:cs typeface="+mn-cs"/>
              </a:rPr>
              <a:t>Altran</a:t>
            </a:r>
            <a:r>
              <a:rPr lang="es-ES" sz="800" b="0" i="0" kern="1200" dirty="0">
                <a:solidFill>
                  <a:schemeClr val="tx2"/>
                </a:solidFill>
                <a:effectLst/>
                <a:latin typeface="Ubuntu" panose="020B0504030602030204" pitchFamily="34" charset="0"/>
                <a:ea typeface="+mn-ea"/>
                <a:cs typeface="+mn-cs"/>
              </a:rPr>
              <a:t>, el Grupo registró en 2019 unos ingresos combinados de 17 mil millones de euros. </a:t>
            </a:r>
            <a:r>
              <a:rPr lang="es-ES" sz="800" b="0" i="1" kern="1200" dirty="0">
                <a:solidFill>
                  <a:schemeClr val="tx2"/>
                </a:solidFill>
                <a:effectLst/>
                <a:latin typeface="Ubuntu" panose="020B0504030602030204" pitchFamily="34" charset="0"/>
                <a:ea typeface="+mn-ea"/>
                <a:cs typeface="+mn-cs"/>
              </a:rPr>
              <a:t>People </a:t>
            </a:r>
            <a:r>
              <a:rPr lang="es-ES" sz="800" b="0" i="1" kern="1200" dirty="0" err="1">
                <a:solidFill>
                  <a:schemeClr val="tx2"/>
                </a:solidFill>
                <a:effectLst/>
                <a:latin typeface="Ubuntu" panose="020B0504030602030204" pitchFamily="34" charset="0"/>
                <a:ea typeface="+mn-ea"/>
                <a:cs typeface="+mn-cs"/>
              </a:rPr>
              <a:t>matter</a:t>
            </a:r>
            <a:r>
              <a:rPr lang="es-ES" sz="800" b="0" i="1" kern="1200" dirty="0">
                <a:solidFill>
                  <a:schemeClr val="tx2"/>
                </a:solidFill>
                <a:effectLst/>
                <a:latin typeface="Ubuntu" panose="020B0504030602030204" pitchFamily="34" charset="0"/>
                <a:ea typeface="+mn-ea"/>
                <a:cs typeface="+mn-cs"/>
              </a:rPr>
              <a:t>, </a:t>
            </a:r>
            <a:r>
              <a:rPr lang="es-ES" sz="800" b="0" i="1" kern="1200" dirty="0" err="1">
                <a:solidFill>
                  <a:schemeClr val="tx2"/>
                </a:solidFill>
                <a:effectLst/>
                <a:latin typeface="Ubuntu" panose="020B0504030602030204" pitchFamily="34" charset="0"/>
                <a:ea typeface="+mn-ea"/>
                <a:cs typeface="+mn-cs"/>
              </a:rPr>
              <a:t>results</a:t>
            </a:r>
            <a:r>
              <a:rPr lang="es-ES" sz="800" b="0" i="1" kern="1200" dirty="0">
                <a:solidFill>
                  <a:schemeClr val="tx2"/>
                </a:solidFill>
                <a:effectLst/>
                <a:latin typeface="Ubuntu" panose="020B0504030602030204" pitchFamily="34" charset="0"/>
                <a:ea typeface="+mn-ea"/>
                <a:cs typeface="+mn-cs"/>
              </a:rPr>
              <a:t> </a:t>
            </a:r>
            <a:r>
              <a:rPr lang="es-ES" sz="800" b="0" i="1" kern="1200" dirty="0" err="1">
                <a:solidFill>
                  <a:schemeClr val="tx2"/>
                </a:solidFill>
                <a:effectLst/>
                <a:latin typeface="Ubuntu" panose="020B0504030602030204" pitchFamily="34" charset="0"/>
                <a:ea typeface="+mn-ea"/>
                <a:cs typeface="+mn-cs"/>
              </a:rPr>
              <a:t>count</a:t>
            </a:r>
            <a:r>
              <a:rPr lang="es-ES" sz="800" b="0" i="1" kern="1200" dirty="0">
                <a:solidFill>
                  <a:schemeClr val="tx2"/>
                </a:solidFill>
                <a:effectLst/>
                <a:latin typeface="Ubuntu" panose="020B0504030602030204" pitchFamily="34" charset="0"/>
                <a:ea typeface="+mn-ea"/>
                <a:cs typeface="+mn-cs"/>
              </a:rPr>
              <a:t>.</a:t>
            </a:r>
            <a:endParaRPr lang="fr-FR" sz="800" i="1" kern="1200" dirty="0">
              <a:solidFill>
                <a:schemeClr val="tx2"/>
              </a:solidFill>
              <a:effectLst/>
              <a:latin typeface="Ubuntu" panose="020B0504030602030204" pitchFamily="34" charset="0"/>
              <a:ea typeface="+mn-ea"/>
              <a:cs typeface="+mn-cs"/>
            </a:endParaRPr>
          </a:p>
        </p:txBody>
      </p:sp>
    </p:spTree>
    <p:extLst>
      <p:ext uri="{BB962C8B-B14F-4D97-AF65-F5344CB8AC3E}">
        <p14:creationId xmlns:p14="http://schemas.microsoft.com/office/powerpoint/2010/main" val="248082077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s-ES"/>
              <a:t>Haga clic para modificar el estilo de título del patrón</a:t>
            </a:r>
            <a:endParaRPr lang="en-GB"/>
          </a:p>
        </p:txBody>
      </p:sp>
    </p:spTree>
    <p:extLst>
      <p:ext uri="{BB962C8B-B14F-4D97-AF65-F5344CB8AC3E}">
        <p14:creationId xmlns:p14="http://schemas.microsoft.com/office/powerpoint/2010/main" val="144946125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err="1"/>
              <a:t>Modifiez</a:t>
            </a:r>
            <a:r>
              <a:rPr lang="en-US"/>
              <a:t> le style du </a:t>
            </a:r>
            <a:r>
              <a:rPr lang="en-US" err="1"/>
              <a:t>titre</a:t>
            </a:r>
            <a:endParaRPr lang="en-US"/>
          </a:p>
        </p:txBody>
      </p:sp>
    </p:spTree>
    <p:extLst>
      <p:ext uri="{BB962C8B-B14F-4D97-AF65-F5344CB8AC3E}">
        <p14:creationId xmlns:p14="http://schemas.microsoft.com/office/powerpoint/2010/main" val="243593217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Cover6">
    <p:spTree>
      <p:nvGrpSpPr>
        <p:cNvPr id="1" name=""/>
        <p:cNvGrpSpPr/>
        <p:nvPr/>
      </p:nvGrpSpPr>
      <p:grpSpPr>
        <a:xfrm>
          <a:off x="0" y="0"/>
          <a:ext cx="0" cy="0"/>
          <a:chOff x="0" y="0"/>
          <a:chExt cx="0" cy="0"/>
        </a:xfrm>
      </p:grpSpPr>
      <p:sp>
        <p:nvSpPr>
          <p:cNvPr id="17" name="Freeform 16"/>
          <p:cNvSpPr/>
          <p:nvPr userDrawn="1"/>
        </p:nvSpPr>
        <p:spPr>
          <a:xfrm>
            <a:off x="-22987" y="0"/>
            <a:ext cx="6223905" cy="68580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
        <p:nvSpPr>
          <p:cNvPr id="20" name="Title 1"/>
          <p:cNvSpPr>
            <a:spLocks noGrp="1"/>
          </p:cNvSpPr>
          <p:nvPr>
            <p:ph type="ctrTitle" hasCustomPrompt="1"/>
          </p:nvPr>
        </p:nvSpPr>
        <p:spPr>
          <a:xfrm>
            <a:off x="407988" y="25146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a:t>Title of Presentation</a:t>
            </a:r>
          </a:p>
        </p:txBody>
      </p:sp>
      <p:sp>
        <p:nvSpPr>
          <p:cNvPr id="21" name="Subtitle 2"/>
          <p:cNvSpPr>
            <a:spLocks noGrp="1"/>
          </p:cNvSpPr>
          <p:nvPr>
            <p:ph type="subTitle" idx="1" hasCustomPrompt="1"/>
          </p:nvPr>
        </p:nvSpPr>
        <p:spPr>
          <a:xfrm>
            <a:off x="407988" y="34290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spTree>
    <p:extLst>
      <p:ext uri="{BB962C8B-B14F-4D97-AF65-F5344CB8AC3E}">
        <p14:creationId xmlns:p14="http://schemas.microsoft.com/office/powerpoint/2010/main" val="313466965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 content - white bac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199C2-CE1A-4360-A4AE-0962475BE0F1}"/>
              </a:ext>
            </a:extLst>
          </p:cNvPr>
          <p:cNvSpPr>
            <a:spLocks noGrp="1"/>
          </p:cNvSpPr>
          <p:nvPr>
            <p:ph type="title"/>
          </p:nvPr>
        </p:nvSpPr>
        <p:spPr>
          <a:xfrm>
            <a:off x="407988" y="252000"/>
            <a:ext cx="11403012" cy="900000"/>
          </a:xfrm>
        </p:spPr>
        <p:txBody>
          <a:bodyPr vert="horz" lIns="0" tIns="0" rIns="0" bIns="0" rtlCol="0" anchor="ctr" anchorCtr="0">
            <a:noAutofit/>
          </a:bodyPr>
          <a:lstStyle>
            <a:lvl1pPr>
              <a:lnSpc>
                <a:spcPct val="88000"/>
              </a:lnSpc>
              <a:defRPr lang="en-US" baseline="0" dirty="0"/>
            </a:lvl1pPr>
          </a:lstStyle>
          <a:p>
            <a:pPr lvl="0"/>
            <a:r>
              <a:rPr lang="en-US"/>
              <a:t>Click to edit Master title style</a:t>
            </a:r>
          </a:p>
        </p:txBody>
      </p:sp>
      <p:sp>
        <p:nvSpPr>
          <p:cNvPr id="4" name="Text Placeholder 3">
            <a:extLst>
              <a:ext uri="{FF2B5EF4-FFF2-40B4-BE49-F238E27FC236}">
                <a16:creationId xmlns:a16="http://schemas.microsoft.com/office/drawing/2014/main" id="{3D43CD70-0B97-488B-A9E4-844B756A36CC}"/>
              </a:ext>
            </a:extLst>
          </p:cNvPr>
          <p:cNvSpPr>
            <a:spLocks noGrp="1"/>
          </p:cNvSpPr>
          <p:nvPr>
            <p:ph type="body" sz="quarter" idx="10"/>
          </p:nvPr>
        </p:nvSpPr>
        <p:spPr>
          <a:xfrm>
            <a:off x="407988" y="1371600"/>
            <a:ext cx="11403012" cy="4876800"/>
          </a:xfrm>
        </p:spPr>
        <p:txBody>
          <a:bodyPr tIns="36000">
            <a:noAutofit/>
          </a:bodyPr>
          <a:lstStyle>
            <a:lvl1pPr>
              <a:defRPr spc="-20" baseline="0"/>
            </a:lvl1pPr>
            <a:lvl2pPr>
              <a:defRPr spc="-20" baseline="0"/>
            </a:lvl2pPr>
            <a:lvl3pPr>
              <a:defRPr spc="-20" baseline="0"/>
            </a:lvl3pPr>
            <a:lvl4pPr>
              <a:defRPr spc="-20" baseline="0"/>
            </a:lvl4pPr>
            <a:lvl5pPr marL="1076325" indent="-228600">
              <a:defRPr spc="-2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3948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_Cover2">
    <p:spTree>
      <p:nvGrpSpPr>
        <p:cNvPr id="1" name=""/>
        <p:cNvGrpSpPr/>
        <p:nvPr/>
      </p:nvGrpSpPr>
      <p:grpSpPr>
        <a:xfrm>
          <a:off x="0" y="0"/>
          <a:ext cx="0" cy="0"/>
          <a:chOff x="0" y="0"/>
          <a:chExt cx="0" cy="0"/>
        </a:xfrm>
      </p:grpSpPr>
      <p:sp>
        <p:nvSpPr>
          <p:cNvPr id="10" name="Freeform 9"/>
          <p:cNvSpPr/>
          <p:nvPr userDrawn="1"/>
        </p:nvSpPr>
        <p:spPr>
          <a:xfrm>
            <a:off x="1295400" y="1"/>
            <a:ext cx="10896600" cy="5568105"/>
          </a:xfrm>
          <a:custGeom>
            <a:avLst/>
            <a:gdLst>
              <a:gd name="connsiteX0" fmla="*/ 0 w 10896600"/>
              <a:gd name="connsiteY0" fmla="*/ 0 h 5568105"/>
              <a:gd name="connsiteX1" fmla="*/ 10896600 w 10896600"/>
              <a:gd name="connsiteY1" fmla="*/ 0 h 5568105"/>
              <a:gd name="connsiteX2" fmla="*/ 10896600 w 10896600"/>
              <a:gd name="connsiteY2" fmla="*/ 80960 h 5568105"/>
              <a:gd name="connsiteX3" fmla="*/ 10896600 w 10896600"/>
              <a:gd name="connsiteY3" fmla="*/ 5568105 h 5568105"/>
              <a:gd name="connsiteX4" fmla="*/ 10451841 w 10896600"/>
              <a:gd name="connsiteY4" fmla="*/ 5493803 h 5568105"/>
              <a:gd name="connsiteX5" fmla="*/ 0 w 10896600"/>
              <a:gd name="connsiteY5" fmla="*/ 3246176 h 5568105"/>
              <a:gd name="connsiteX6" fmla="*/ 0 w 10896600"/>
              <a:gd name="connsiteY6" fmla="*/ 191975 h 5568105"/>
              <a:gd name="connsiteX7" fmla="*/ 0 w 10896600"/>
              <a:gd name="connsiteY7" fmla="*/ 0 h 5568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96600" h="5568105">
                <a:moveTo>
                  <a:pt x="0" y="0"/>
                </a:moveTo>
                <a:lnTo>
                  <a:pt x="10896600" y="0"/>
                </a:lnTo>
                <a:lnTo>
                  <a:pt x="10896600" y="80960"/>
                </a:lnTo>
                <a:cubicBezTo>
                  <a:pt x="10896600" y="1513754"/>
                  <a:pt x="10896600" y="3311770"/>
                  <a:pt x="10896600" y="5568105"/>
                </a:cubicBezTo>
                <a:cubicBezTo>
                  <a:pt x="10748347" y="5549530"/>
                  <a:pt x="10600094" y="5530954"/>
                  <a:pt x="10451841" y="5493803"/>
                </a:cubicBezTo>
                <a:cubicBezTo>
                  <a:pt x="6356350" y="4787937"/>
                  <a:pt x="2872403" y="4026344"/>
                  <a:pt x="0" y="3246176"/>
                </a:cubicBezTo>
                <a:cubicBezTo>
                  <a:pt x="0" y="3246176"/>
                  <a:pt x="0" y="3246176"/>
                  <a:pt x="0" y="191975"/>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itle 1"/>
          <p:cNvSpPr>
            <a:spLocks noGrp="1"/>
          </p:cNvSpPr>
          <p:nvPr>
            <p:ph type="ctrTitle" hasCustomPrompt="1"/>
          </p:nvPr>
        </p:nvSpPr>
        <p:spPr>
          <a:xfrm>
            <a:off x="6816081"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a:t>Title of Presentation</a:t>
            </a:r>
          </a:p>
        </p:txBody>
      </p:sp>
      <p:sp>
        <p:nvSpPr>
          <p:cNvPr id="9" name="Subtitle 2"/>
          <p:cNvSpPr>
            <a:spLocks noGrp="1"/>
          </p:cNvSpPr>
          <p:nvPr>
            <p:ph type="subTitle" idx="1" hasCustomPrompt="1"/>
          </p:nvPr>
        </p:nvSpPr>
        <p:spPr>
          <a:xfrm>
            <a:off x="6816081"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22466935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9_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839788" y="344103"/>
            <a:ext cx="4967932" cy="9482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2800" b="1" dirty="0">
                <a:solidFill>
                  <a:schemeClr val="bg1"/>
                </a:solidFill>
                <a:latin typeface="+mj-lt"/>
              </a:defRPr>
            </a:lvl1pPr>
          </a:lstStyle>
          <a:p>
            <a:pPr marL="0" lvl="0"/>
            <a:r>
              <a:rPr lang="en-US"/>
              <a:t>CLICK TO INSERT TITLE</a:t>
            </a:r>
          </a:p>
        </p:txBody>
      </p:sp>
      <p:sp>
        <p:nvSpPr>
          <p:cNvPr id="5" name="Retângulo 43">
            <a:extLst>
              <a:ext uri="{FF2B5EF4-FFF2-40B4-BE49-F238E27FC236}">
                <a16:creationId xmlns:a16="http://schemas.microsoft.com/office/drawing/2014/main" id="{2FD11A2F-9A52-4E61-B087-7614B46EAEAB}"/>
              </a:ext>
            </a:extLst>
          </p:cNvPr>
          <p:cNvSpPr/>
          <p:nvPr userDrawn="1"/>
        </p:nvSpPr>
        <p:spPr>
          <a:xfrm>
            <a:off x="11745257" y="6635097"/>
            <a:ext cx="182743" cy="107722"/>
          </a:xfrm>
          <a:prstGeom prst="rect">
            <a:avLst/>
          </a:prstGeom>
        </p:spPr>
        <p:txBody>
          <a:bodyPr wrap="none" lIns="0" tIns="0" rIns="0" bIns="0" anchor="ctr" anchorCtr="0">
            <a:spAutoFit/>
          </a:bodyPr>
          <a:lstStyle/>
          <a:p>
            <a:pPr algn="r"/>
            <a:fld id="{0502E5A9-B53C-401E-A0E0-4A359BB0A9E5}" type="slidenum">
              <a:rPr lang="en-US" sz="700" smtClean="0">
                <a:solidFill>
                  <a:schemeClr val="bg2">
                    <a:lumMod val="75000"/>
                  </a:schemeClr>
                </a:solidFill>
                <a:latin typeface="+mn-lt"/>
                <a:cs typeface="Arial" panose="020B0604020202020204" pitchFamily="34" charset="0"/>
              </a:rPr>
              <a:pPr algn="r"/>
              <a:t>‹#›</a:t>
            </a:fld>
            <a:endParaRPr lang="en-US" sz="700">
              <a:solidFill>
                <a:schemeClr val="bg2">
                  <a:lumMod val="75000"/>
                </a:schemeClr>
              </a:solidFill>
              <a:latin typeface="+mn-lt"/>
              <a:cs typeface="Arial" panose="020B0604020202020204" pitchFamily="34" charset="0"/>
            </a:endParaRPr>
          </a:p>
        </p:txBody>
      </p:sp>
      <p:sp>
        <p:nvSpPr>
          <p:cNvPr id="8" name="Rectangle 27">
            <a:extLst>
              <a:ext uri="{FF2B5EF4-FFF2-40B4-BE49-F238E27FC236}">
                <a16:creationId xmlns:a16="http://schemas.microsoft.com/office/drawing/2014/main" id="{28981E07-B232-43E9-8240-4B6B61F58BB5}"/>
              </a:ext>
            </a:extLst>
          </p:cNvPr>
          <p:cNvSpPr/>
          <p:nvPr userDrawn="1"/>
        </p:nvSpPr>
        <p:spPr>
          <a:xfrm>
            <a:off x="237952" y="6635097"/>
            <a:ext cx="1445909" cy="107722"/>
          </a:xfrm>
          <a:prstGeom prst="rect">
            <a:avLst/>
          </a:prstGeom>
        </p:spPr>
        <p:txBody>
          <a:bodyPr wrap="none" lIns="0" tIns="0" rIns="0" bIns="0" anchor="ctr" anchorCtr="0">
            <a:spAutoFit/>
          </a:bodyPr>
          <a:lstStyle/>
          <a:p>
            <a:pPr lvl="0" algn="l" defTabSz="914400">
              <a:lnSpc>
                <a:spcPct val="100000"/>
              </a:lnSpc>
              <a:defRPr/>
            </a:pPr>
            <a:r>
              <a:rPr lang="en-US" sz="700" kern="0">
                <a:solidFill>
                  <a:schemeClr val="bg2">
                    <a:lumMod val="75000"/>
                  </a:schemeClr>
                </a:solidFill>
                <a:latin typeface="+mn-lt"/>
                <a:cs typeface="Arial" panose="020B0604020202020204" pitchFamily="34" charset="0"/>
              </a:rPr>
              <a:t>Group Overview | October 2019</a:t>
            </a:r>
          </a:p>
        </p:txBody>
      </p:sp>
      <p:pic>
        <p:nvPicPr>
          <p:cNvPr id="12" name="Picture 12">
            <a:extLst>
              <a:ext uri="{FF2B5EF4-FFF2-40B4-BE49-F238E27FC236}">
                <a16:creationId xmlns:a16="http://schemas.microsoft.com/office/drawing/2014/main" id="{43171348-F4EC-47B1-B6DB-9915C24F8236}"/>
              </a:ext>
            </a:extLst>
          </p:cNvPr>
          <p:cNvPicPr>
            <a:picLocks noChangeAspect="1"/>
          </p:cNvPicPr>
          <p:nvPr userDrawn="1"/>
        </p:nvPicPr>
        <p:blipFill>
          <a:blip r:embed="rId2"/>
          <a:stretch>
            <a:fillRect/>
          </a:stretch>
        </p:blipFill>
        <p:spPr>
          <a:xfrm>
            <a:off x="11510596" y="184784"/>
            <a:ext cx="408581" cy="379095"/>
          </a:xfrm>
          <a:prstGeom prst="rect">
            <a:avLst/>
          </a:prstGeom>
        </p:spPr>
      </p:pic>
      <p:sp>
        <p:nvSpPr>
          <p:cNvPr id="9" name="Text Placeholder 7">
            <a:extLst>
              <a:ext uri="{FF2B5EF4-FFF2-40B4-BE49-F238E27FC236}">
                <a16:creationId xmlns:a16="http://schemas.microsoft.com/office/drawing/2014/main" id="{6DFB9164-014F-44D7-8DA3-621EE227E43B}"/>
              </a:ext>
            </a:extLst>
          </p:cNvPr>
          <p:cNvSpPr txBox="1">
            <a:spLocks/>
          </p:cNvSpPr>
          <p:nvPr userDrawn="1"/>
        </p:nvSpPr>
        <p:spPr>
          <a:xfrm>
            <a:off x="8979899" y="6627403"/>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700">
                <a:solidFill>
                  <a:schemeClr val="bg2">
                    <a:lumMod val="75000"/>
                  </a:schemeClr>
                </a:solidFill>
                <a:latin typeface="+mn-lt"/>
              </a:rPr>
              <a:t>© Capgemini 2020. All rights reserved |</a:t>
            </a:r>
          </a:p>
        </p:txBody>
      </p:sp>
    </p:spTree>
    <p:extLst>
      <p:ext uri="{BB962C8B-B14F-4D97-AF65-F5344CB8AC3E}">
        <p14:creationId xmlns:p14="http://schemas.microsoft.com/office/powerpoint/2010/main" val="3395015155"/>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x">
  <p:cSld name="7_Cover2">
    <p:spTree>
      <p:nvGrpSpPr>
        <p:cNvPr id="1" name=""/>
        <p:cNvGrpSpPr/>
        <p:nvPr/>
      </p:nvGrpSpPr>
      <p:grpSpPr>
        <a:xfrm>
          <a:off x="0" y="0"/>
          <a:ext cx="0" cy="0"/>
          <a:chOff x="0" y="0"/>
          <a:chExt cx="0" cy="0"/>
        </a:xfrm>
      </p:grpSpPr>
      <p:sp>
        <p:nvSpPr>
          <p:cNvPr id="540" name="Número de diapositiva"/>
          <p:cNvSpPr>
            <a:spLocks noGrp="1"/>
          </p:cNvSpPr>
          <p:nvPr>
            <p:ph type="sldNum" sz="quarter" idx="2"/>
          </p:nvPr>
        </p:nvSpPr>
        <p:spPr>
          <a:xfrm>
            <a:off x="8213097" y="6171686"/>
            <a:ext cx="524503" cy="369330"/>
          </a:xfrm>
          <a:prstGeom prst="rect">
            <a:avLst/>
          </a:prstGeom>
        </p:spPr>
        <p:txBody>
          <a:bodyPr anchor="ctr"/>
          <a:lstStyle>
            <a:lvl1pPr>
              <a:defRPr sz="1200">
                <a:solidFill>
                  <a:srgbClr val="000000"/>
                </a:solidFill>
              </a:defRPr>
            </a:lvl1pPr>
          </a:lstStyle>
          <a:p>
            <a:fld id="{86CB4B4D-7CA3-9044-876B-883B54F8677D}" type="slidenum">
              <a:t>‹#›</a:t>
            </a:fld>
            <a:endParaRPr/>
          </a:p>
        </p:txBody>
      </p:sp>
    </p:spTree>
    <p:extLst>
      <p:ext uri="{BB962C8B-B14F-4D97-AF65-F5344CB8AC3E}">
        <p14:creationId xmlns:p14="http://schemas.microsoft.com/office/powerpoint/2010/main" val="3128297430"/>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ver11">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94664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ver9">
    <p:spTree>
      <p:nvGrpSpPr>
        <p:cNvPr id="1" name=""/>
        <p:cNvGrpSpPr/>
        <p:nvPr/>
      </p:nvGrpSpPr>
      <p:grpSpPr>
        <a:xfrm>
          <a:off x="0" y="0"/>
          <a:ext cx="0" cy="0"/>
          <a:chOff x="0" y="0"/>
          <a:chExt cx="0" cy="0"/>
        </a:xfrm>
      </p:grpSpPr>
      <p:sp>
        <p:nvSpPr>
          <p:cNvPr id="13" name="Freeform 12"/>
          <p:cNvSpPr/>
          <p:nvPr userDrawn="1"/>
        </p:nvSpPr>
        <p:spPr>
          <a:xfrm>
            <a:off x="0" y="2"/>
            <a:ext cx="8664800" cy="5891173"/>
          </a:xfrm>
          <a:custGeom>
            <a:avLst/>
            <a:gdLst>
              <a:gd name="connsiteX0" fmla="*/ 0 w 8664800"/>
              <a:gd name="connsiteY0" fmla="*/ 0 h 5891173"/>
              <a:gd name="connsiteX1" fmla="*/ 8664800 w 8664800"/>
              <a:gd name="connsiteY1" fmla="*/ 0 h 5891173"/>
              <a:gd name="connsiteX2" fmla="*/ 8664384 w 8664800"/>
              <a:gd name="connsiteY2" fmla="*/ 3446 h 5891173"/>
              <a:gd name="connsiteX3" fmla="*/ 4910849 w 8664800"/>
              <a:gd name="connsiteY3" fmla="*/ 5752723 h 5891173"/>
              <a:gd name="connsiteX4" fmla="*/ 136189 w 8664800"/>
              <a:gd name="connsiteY4" fmla="*/ 3904223 h 5891173"/>
              <a:gd name="connsiteX5" fmla="*/ 0 w 8664800"/>
              <a:gd name="connsiteY5" fmla="*/ 3851498 h 5891173"/>
              <a:gd name="connsiteX6" fmla="*/ 0 w 8664800"/>
              <a:gd name="connsiteY6" fmla="*/ 0 h 5891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64800" h="5891173">
                <a:moveTo>
                  <a:pt x="0" y="0"/>
                </a:moveTo>
                <a:lnTo>
                  <a:pt x="8664800" y="0"/>
                </a:lnTo>
                <a:lnTo>
                  <a:pt x="8664384" y="3446"/>
                </a:lnTo>
                <a:cubicBezTo>
                  <a:pt x="8546736" y="969909"/>
                  <a:pt x="7776240" y="6862054"/>
                  <a:pt x="4910849" y="5752723"/>
                </a:cubicBezTo>
                <a:cubicBezTo>
                  <a:pt x="2738090" y="4911543"/>
                  <a:pt x="1210368" y="4320089"/>
                  <a:pt x="136189" y="3904223"/>
                </a:cubicBezTo>
                <a:lnTo>
                  <a:pt x="0" y="3851498"/>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407988"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a:t>Title of Presentation</a:t>
            </a:r>
          </a:p>
        </p:txBody>
      </p:sp>
      <p:sp>
        <p:nvSpPr>
          <p:cNvPr id="9" name="Subtitle 2"/>
          <p:cNvSpPr>
            <a:spLocks noGrp="1"/>
          </p:cNvSpPr>
          <p:nvPr>
            <p:ph type="subTitle" idx="1" hasCustomPrompt="1"/>
          </p:nvPr>
        </p:nvSpPr>
        <p:spPr>
          <a:xfrm>
            <a:off x="407988"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7" name="Gráfico 6" descr="Inicio">
            <a:hlinkClick r:id="" action="ppaction://noaction"/>
            <a:extLst>
              <a:ext uri="{FF2B5EF4-FFF2-40B4-BE49-F238E27FC236}">
                <a16:creationId xmlns:a16="http://schemas.microsoft.com/office/drawing/2014/main" id="{E0F5929C-8B91-4101-B688-C211841BA5F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80316" y="6527273"/>
            <a:ext cx="248169" cy="231805"/>
          </a:xfrm>
          <a:prstGeom prst="rect">
            <a:avLst/>
          </a:prstGeom>
        </p:spPr>
      </p:pic>
      <p:pic>
        <p:nvPicPr>
          <p:cNvPr id="10" name="Gráfico 9" descr="Marca de verificación">
            <a:hlinkClick r:id="" action="ppaction://noaction"/>
            <a:extLst>
              <a:ext uri="{FF2B5EF4-FFF2-40B4-BE49-F238E27FC236}">
                <a16:creationId xmlns:a16="http://schemas.microsoft.com/office/drawing/2014/main" id="{F88F8616-AEC2-4854-89BD-AC6B556C7AD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190673" y="6518477"/>
            <a:ext cx="209737" cy="240601"/>
          </a:xfrm>
          <a:prstGeom prst="rect">
            <a:avLst/>
          </a:prstGeom>
        </p:spPr>
      </p:pic>
      <p:pic>
        <p:nvPicPr>
          <p:cNvPr id="11" name="Gráfico 10" descr="Bombilla y equipo">
            <a:hlinkClick r:id="" action="ppaction://noaction"/>
            <a:extLst>
              <a:ext uri="{FF2B5EF4-FFF2-40B4-BE49-F238E27FC236}">
                <a16:creationId xmlns:a16="http://schemas.microsoft.com/office/drawing/2014/main" id="{ECA5F55C-9417-4F8E-B9F1-E6130F37D46F}"/>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944737" y="6547689"/>
            <a:ext cx="209737" cy="195908"/>
          </a:xfrm>
          <a:prstGeom prst="rect">
            <a:avLst/>
          </a:prstGeom>
        </p:spPr>
      </p:pic>
      <p:pic>
        <p:nvPicPr>
          <p:cNvPr id="12" name="Gráfico 11" descr="Repetir">
            <a:hlinkClick r:id="" action="ppaction://noaction"/>
            <a:extLst>
              <a:ext uri="{FF2B5EF4-FFF2-40B4-BE49-F238E27FC236}">
                <a16:creationId xmlns:a16="http://schemas.microsoft.com/office/drawing/2014/main" id="{AA87E377-C68D-4939-BBC1-993A40139208}"/>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0673612" y="6530871"/>
            <a:ext cx="220767" cy="231805"/>
          </a:xfrm>
          <a:prstGeom prst="rect">
            <a:avLst/>
          </a:prstGeom>
        </p:spPr>
      </p:pic>
      <p:pic>
        <p:nvPicPr>
          <p:cNvPr id="14" name="Gráfico 13" descr="Discurso">
            <a:hlinkClick r:id="rId11" action="ppaction://hlinksldjump" tooltip="Customer stories"/>
            <a:extLst>
              <a:ext uri="{FF2B5EF4-FFF2-40B4-BE49-F238E27FC236}">
                <a16:creationId xmlns:a16="http://schemas.microsoft.com/office/drawing/2014/main" id="{3F128F30-EC08-40D5-8C7D-2EB60261BE9E}"/>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11764597" y="6530871"/>
            <a:ext cx="246492" cy="275455"/>
          </a:xfrm>
          <a:prstGeom prst="rect">
            <a:avLst/>
          </a:prstGeom>
        </p:spPr>
      </p:pic>
      <p:pic>
        <p:nvPicPr>
          <p:cNvPr id="15" name="Gráfico 14" descr="Diseño web">
            <a:hlinkClick r:id="" action="ppaction://noaction"/>
            <a:extLst>
              <a:ext uri="{FF2B5EF4-FFF2-40B4-BE49-F238E27FC236}">
                <a16:creationId xmlns:a16="http://schemas.microsoft.com/office/drawing/2014/main" id="{673516F4-B3A4-46B6-976B-1C660604808A}"/>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11458905" y="6524323"/>
            <a:ext cx="247197" cy="247197"/>
          </a:xfrm>
          <a:prstGeom prst="rect">
            <a:avLst/>
          </a:prstGeom>
        </p:spPr>
      </p:pic>
    </p:spTree>
    <p:extLst>
      <p:ext uri="{BB962C8B-B14F-4D97-AF65-F5344CB8AC3E}">
        <p14:creationId xmlns:p14="http://schemas.microsoft.com/office/powerpoint/2010/main" val="13459996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s-ES"/>
              <a:t>Haga clic para modificar el estilo de título del patrón</a:t>
            </a:r>
            <a:endParaRPr lang="en-GB"/>
          </a:p>
        </p:txBody>
      </p:sp>
    </p:spTree>
    <p:extLst>
      <p:ext uri="{BB962C8B-B14F-4D97-AF65-F5344CB8AC3E}">
        <p14:creationId xmlns:p14="http://schemas.microsoft.com/office/powerpoint/2010/main" val="32493391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theme" Target="../theme/theme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theme" Target="../theme/theme3.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heme" Target="../theme/theme4.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a:t>Click to edit Master title style</a:t>
            </a:r>
            <a:endParaRPr lang="pt-PT"/>
          </a:p>
        </p:txBody>
      </p:sp>
      <p:grpSp>
        <p:nvGrpSpPr>
          <p:cNvPr id="3" name="Group 2"/>
          <p:cNvGrpSpPr/>
          <p:nvPr userDrawn="1"/>
        </p:nvGrpSpPr>
        <p:grpSpPr>
          <a:xfrm rot="5400000">
            <a:off x="11885731" y="885110"/>
            <a:ext cx="1723717" cy="344332"/>
            <a:chOff x="12496801" y="706628"/>
            <a:chExt cx="2975350" cy="594360"/>
          </a:xfrm>
        </p:grpSpPr>
        <p:sp>
          <p:nvSpPr>
            <p:cNvPr id="5" name="Rectangle 4"/>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6" name="Rectangle 5"/>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7" name="Rectangle 6"/>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8" name="Rectangle 7"/>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0" name="Rectangle 9"/>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grpSp>
      <p:sp>
        <p:nvSpPr>
          <p:cNvPr id="26" name="Rectangle 25"/>
          <p:cNvSpPr/>
          <p:nvPr userDrawn="1"/>
        </p:nvSpPr>
        <p:spPr>
          <a:xfrm rot="16200000">
            <a:off x="11722550" y="4349305"/>
            <a:ext cx="1394613"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tx2"/>
                </a:solidFill>
              </a:rPr>
              <a:t>Infographic Palette</a:t>
            </a:r>
          </a:p>
        </p:txBody>
      </p:sp>
      <p:grpSp>
        <p:nvGrpSpPr>
          <p:cNvPr id="64" name="Group 63"/>
          <p:cNvGrpSpPr/>
          <p:nvPr userDrawn="1"/>
        </p:nvGrpSpPr>
        <p:grpSpPr>
          <a:xfrm>
            <a:off x="12575423" y="2015626"/>
            <a:ext cx="347472" cy="4821246"/>
            <a:chOff x="12575423" y="2604463"/>
            <a:chExt cx="347472" cy="4821246"/>
          </a:xfrm>
        </p:grpSpPr>
        <p:sp>
          <p:nvSpPr>
            <p:cNvPr id="11" name="Rectangle 10"/>
            <p:cNvSpPr/>
            <p:nvPr userDrawn="1"/>
          </p:nvSpPr>
          <p:spPr>
            <a:xfrm>
              <a:off x="12575423" y="2604463"/>
              <a:ext cx="347472" cy="347472"/>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a:p>
          </p:txBody>
        </p:sp>
        <p:sp>
          <p:nvSpPr>
            <p:cNvPr id="12" name="Rectangle 11"/>
            <p:cNvSpPr/>
            <p:nvPr userDrawn="1"/>
          </p:nvSpPr>
          <p:spPr>
            <a:xfrm>
              <a:off x="12575423" y="2951375"/>
              <a:ext cx="347472" cy="347472"/>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a:p>
          </p:txBody>
        </p:sp>
        <p:sp>
          <p:nvSpPr>
            <p:cNvPr id="15" name="Rectangle 14"/>
            <p:cNvSpPr/>
            <p:nvPr userDrawn="1"/>
          </p:nvSpPr>
          <p:spPr>
            <a:xfrm>
              <a:off x="12575423" y="4334164"/>
              <a:ext cx="347472" cy="347472"/>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6" name="Rectangle 15"/>
            <p:cNvSpPr/>
            <p:nvPr userDrawn="1"/>
          </p:nvSpPr>
          <p:spPr>
            <a:xfrm>
              <a:off x="12575423" y="5710816"/>
              <a:ext cx="347472" cy="347472"/>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8" name="Rectangle 17"/>
            <p:cNvSpPr/>
            <p:nvPr userDrawn="1"/>
          </p:nvSpPr>
          <p:spPr>
            <a:xfrm>
              <a:off x="12575423" y="6048324"/>
              <a:ext cx="347472" cy="347472"/>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9" name="Rectangle 18"/>
            <p:cNvSpPr/>
            <p:nvPr userDrawn="1"/>
          </p:nvSpPr>
          <p:spPr>
            <a:xfrm>
              <a:off x="12575423" y="7078237"/>
              <a:ext cx="347472" cy="347472"/>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0" name="Rectangle 19"/>
            <p:cNvSpPr/>
            <p:nvPr userDrawn="1"/>
          </p:nvSpPr>
          <p:spPr>
            <a:xfrm>
              <a:off x="12575423" y="6735214"/>
              <a:ext cx="347472" cy="34747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1" name="Rectangle 20"/>
            <p:cNvSpPr/>
            <p:nvPr userDrawn="1"/>
          </p:nvSpPr>
          <p:spPr>
            <a:xfrm>
              <a:off x="12575423" y="6391347"/>
              <a:ext cx="347472" cy="34747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2" name="Rectangle 21"/>
            <p:cNvSpPr/>
            <p:nvPr userDrawn="1"/>
          </p:nvSpPr>
          <p:spPr>
            <a:xfrm>
              <a:off x="12575423" y="4679467"/>
              <a:ext cx="347472" cy="347472"/>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3" name="Rectangle 22"/>
            <p:cNvSpPr/>
            <p:nvPr userDrawn="1"/>
          </p:nvSpPr>
          <p:spPr>
            <a:xfrm>
              <a:off x="12575423" y="5022490"/>
              <a:ext cx="347472" cy="34747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4" name="Rectangle 23"/>
            <p:cNvSpPr/>
            <p:nvPr userDrawn="1"/>
          </p:nvSpPr>
          <p:spPr>
            <a:xfrm>
              <a:off x="12575423" y="5367793"/>
              <a:ext cx="347472" cy="34747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4" name="Rectangle 13"/>
            <p:cNvSpPr/>
            <p:nvPr userDrawn="1"/>
          </p:nvSpPr>
          <p:spPr>
            <a:xfrm>
              <a:off x="12575423" y="3298847"/>
              <a:ext cx="347472" cy="347472"/>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7" name="Rectangle 16"/>
            <p:cNvSpPr/>
            <p:nvPr userDrawn="1"/>
          </p:nvSpPr>
          <p:spPr>
            <a:xfrm>
              <a:off x="12575423" y="3644150"/>
              <a:ext cx="347472" cy="34747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8" name="Rectangle 27"/>
            <p:cNvSpPr/>
            <p:nvPr userDrawn="1"/>
          </p:nvSpPr>
          <p:spPr>
            <a:xfrm>
              <a:off x="12575423" y="3987173"/>
              <a:ext cx="347472" cy="347472"/>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grpSp>
      <p:sp>
        <p:nvSpPr>
          <p:cNvPr id="60" name="Rectangle 59"/>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Primary</a:t>
            </a:r>
          </a:p>
        </p:txBody>
      </p:sp>
    </p:spTree>
    <p:extLst>
      <p:ext uri="{BB962C8B-B14F-4D97-AF65-F5344CB8AC3E}">
        <p14:creationId xmlns:p14="http://schemas.microsoft.com/office/powerpoint/2010/main" val="280712520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Lst>
  <p:txStyles>
    <p:titleStyle>
      <a:lvl1pPr algn="l" defTabSz="914400" rtl="0" eaLnBrk="1" latinLnBrk="0" hangingPunct="1">
        <a:lnSpc>
          <a:spcPct val="90000"/>
        </a:lnSpc>
        <a:spcBef>
          <a:spcPct val="0"/>
        </a:spcBef>
        <a:buNone/>
        <a:defRPr lang="pt-PT" sz="2600" b="1" i="0" kern="1200">
          <a:solidFill>
            <a:schemeClr val="tx2"/>
          </a:solidFill>
          <a:latin typeface="Ubuntu" panose="020B050403060203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2">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6D0EEC-80D3-466E-BAB2-60D38A71FF0A}"/>
              </a:ext>
            </a:extLst>
          </p:cNvPr>
          <p:cNvSpPr>
            <a:spLocks noGrp="1"/>
          </p:cNvSpPr>
          <p:nvPr>
            <p:ph type="title"/>
          </p:nvPr>
        </p:nvSpPr>
        <p:spPr>
          <a:xfrm>
            <a:off x="395999" y="396000"/>
            <a:ext cx="11520000" cy="864000"/>
          </a:xfrm>
          <a:prstGeom prst="rect">
            <a:avLst/>
          </a:prstGeom>
        </p:spPr>
        <p:txBody>
          <a:bodyPr vert="horz" lIns="0" tIns="0" rIns="0" bIns="0" rtlCol="0" anchor="t">
            <a:normAutofit/>
          </a:bodyPr>
          <a:lstStyle/>
          <a:p>
            <a:r>
              <a:rPr lang="es-ES" noProof="0"/>
              <a:t>Haga clic para modificar el estilo de título del patrón</a:t>
            </a:r>
            <a:endParaRPr lang="en-US" noProof="0"/>
          </a:p>
        </p:txBody>
      </p:sp>
      <p:sp>
        <p:nvSpPr>
          <p:cNvPr id="3" name="Espace réservé du texte 2">
            <a:extLst>
              <a:ext uri="{FF2B5EF4-FFF2-40B4-BE49-F238E27FC236}">
                <a16:creationId xmlns:a16="http://schemas.microsoft.com/office/drawing/2014/main" id="{CB99954D-20DC-4C08-8C6C-5DA7933E73D6}"/>
              </a:ext>
            </a:extLst>
          </p:cNvPr>
          <p:cNvSpPr>
            <a:spLocks noGrp="1"/>
          </p:cNvSpPr>
          <p:nvPr>
            <p:ph type="body" idx="1"/>
          </p:nvPr>
        </p:nvSpPr>
        <p:spPr>
          <a:xfrm>
            <a:off x="396000" y="1440000"/>
            <a:ext cx="11520487" cy="4932000"/>
          </a:xfrm>
          <a:prstGeom prst="rect">
            <a:avLst/>
          </a:prstGeom>
        </p:spPr>
        <p:txBody>
          <a:bodyPr vert="horz" lIns="0" tIns="0" rIns="0" bIns="0" rtlCol="0">
            <a:noAutofit/>
          </a:bodyPr>
          <a:lstStyle/>
          <a:p>
            <a:pPr lvl="0"/>
            <a:r>
              <a:rPr lang="en-US" noProof="0"/>
              <a:t>Modifier les styles du </a:t>
            </a:r>
            <a:r>
              <a:rPr lang="en-US" noProof="0" err="1"/>
              <a:t>texte</a:t>
            </a:r>
            <a:r>
              <a:rPr lang="en-US" noProof="0"/>
              <a:t> du masque</a:t>
            </a:r>
          </a:p>
          <a:p>
            <a:pPr lvl="1"/>
            <a:r>
              <a:rPr lang="en-US" noProof="0" err="1"/>
              <a:t>Deuxième</a:t>
            </a:r>
            <a:r>
              <a:rPr lang="en-US" noProof="0"/>
              <a:t> </a:t>
            </a:r>
            <a:r>
              <a:rPr lang="en-US" noProof="0" err="1"/>
              <a:t>niveau</a:t>
            </a:r>
            <a:endParaRPr lang="en-US" noProof="0"/>
          </a:p>
          <a:p>
            <a:pPr lvl="2"/>
            <a:r>
              <a:rPr lang="en-US" noProof="0" err="1"/>
              <a:t>Troisième</a:t>
            </a:r>
            <a:r>
              <a:rPr lang="en-US" noProof="0"/>
              <a:t> </a:t>
            </a:r>
            <a:r>
              <a:rPr lang="en-US" noProof="0" err="1"/>
              <a:t>niveau</a:t>
            </a:r>
            <a:endParaRPr lang="en-US" noProof="0"/>
          </a:p>
          <a:p>
            <a:pPr lvl="3"/>
            <a:r>
              <a:rPr lang="en-US" noProof="0" err="1"/>
              <a:t>Quatrième</a:t>
            </a:r>
            <a:r>
              <a:rPr lang="en-US" noProof="0"/>
              <a:t> </a:t>
            </a:r>
            <a:r>
              <a:rPr lang="en-US" noProof="0" err="1"/>
              <a:t>niveau</a:t>
            </a:r>
            <a:endParaRPr lang="en-US" noProof="0"/>
          </a:p>
          <a:p>
            <a:pPr lvl="4"/>
            <a:r>
              <a:rPr lang="en-US" noProof="0" err="1"/>
              <a:t>Cinquième</a:t>
            </a:r>
            <a:r>
              <a:rPr lang="en-US" noProof="0"/>
              <a:t> </a:t>
            </a:r>
            <a:r>
              <a:rPr lang="en-US" noProof="0" err="1"/>
              <a:t>niveau</a:t>
            </a:r>
            <a:endParaRPr lang="en-US" noProof="0"/>
          </a:p>
        </p:txBody>
      </p:sp>
      <p:grpSp>
        <p:nvGrpSpPr>
          <p:cNvPr id="11" name="Group 2">
            <a:extLst>
              <a:ext uri="{FF2B5EF4-FFF2-40B4-BE49-F238E27FC236}">
                <a16:creationId xmlns:a16="http://schemas.microsoft.com/office/drawing/2014/main" id="{E90ED533-C498-4431-8D8F-7F56729917F0}"/>
              </a:ext>
            </a:extLst>
          </p:cNvPr>
          <p:cNvGrpSpPr/>
          <p:nvPr userDrawn="1"/>
        </p:nvGrpSpPr>
        <p:grpSpPr>
          <a:xfrm rot="5400000">
            <a:off x="11885731" y="885110"/>
            <a:ext cx="1723717" cy="344332"/>
            <a:chOff x="12496801" y="706628"/>
            <a:chExt cx="2975350" cy="594360"/>
          </a:xfrm>
        </p:grpSpPr>
        <p:sp>
          <p:nvSpPr>
            <p:cNvPr id="12" name="Rectangle 11">
              <a:extLst>
                <a:ext uri="{FF2B5EF4-FFF2-40B4-BE49-F238E27FC236}">
                  <a16:creationId xmlns:a16="http://schemas.microsoft.com/office/drawing/2014/main" id="{EEBEA5A1-AAB6-4DD8-B0D6-B0227842B2D9}"/>
                </a:ext>
              </a:extLst>
            </p:cNvPr>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3" name="Rectangle 12">
              <a:extLst>
                <a:ext uri="{FF2B5EF4-FFF2-40B4-BE49-F238E27FC236}">
                  <a16:creationId xmlns:a16="http://schemas.microsoft.com/office/drawing/2014/main" id="{F07A262C-5E76-4786-ABCB-D2549BAED5D7}"/>
                </a:ext>
              </a:extLst>
            </p:cNvPr>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4" name="Rectangle 13">
              <a:extLst>
                <a:ext uri="{FF2B5EF4-FFF2-40B4-BE49-F238E27FC236}">
                  <a16:creationId xmlns:a16="http://schemas.microsoft.com/office/drawing/2014/main" id="{F7EB06D7-5EA9-4CA9-A609-E728AAEAD5AB}"/>
                </a:ext>
              </a:extLst>
            </p:cNvPr>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5" name="Rectangle 14">
              <a:extLst>
                <a:ext uri="{FF2B5EF4-FFF2-40B4-BE49-F238E27FC236}">
                  <a16:creationId xmlns:a16="http://schemas.microsoft.com/office/drawing/2014/main" id="{0DAC361D-C2ED-486D-AB7B-1EC026E37E99}"/>
                </a:ext>
              </a:extLst>
            </p:cNvPr>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6" name="Rectangle 15">
              <a:extLst>
                <a:ext uri="{FF2B5EF4-FFF2-40B4-BE49-F238E27FC236}">
                  <a16:creationId xmlns:a16="http://schemas.microsoft.com/office/drawing/2014/main" id="{72369918-A613-4E1B-B84B-51345369A21D}"/>
                </a:ext>
              </a:extLst>
            </p:cNvPr>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grpSp>
      <p:grpSp>
        <p:nvGrpSpPr>
          <p:cNvPr id="17" name="Group 63">
            <a:extLst>
              <a:ext uri="{FF2B5EF4-FFF2-40B4-BE49-F238E27FC236}">
                <a16:creationId xmlns:a16="http://schemas.microsoft.com/office/drawing/2014/main" id="{5C6767F2-9661-427A-B01D-5101E04AB9DA}"/>
              </a:ext>
            </a:extLst>
          </p:cNvPr>
          <p:cNvGrpSpPr/>
          <p:nvPr userDrawn="1"/>
        </p:nvGrpSpPr>
        <p:grpSpPr>
          <a:xfrm>
            <a:off x="12575423" y="2015626"/>
            <a:ext cx="347472" cy="4821246"/>
            <a:chOff x="12575423" y="2604463"/>
            <a:chExt cx="347472" cy="4821246"/>
          </a:xfrm>
        </p:grpSpPr>
        <p:sp>
          <p:nvSpPr>
            <p:cNvPr id="18" name="Rectangle 17">
              <a:extLst>
                <a:ext uri="{FF2B5EF4-FFF2-40B4-BE49-F238E27FC236}">
                  <a16:creationId xmlns:a16="http://schemas.microsoft.com/office/drawing/2014/main" id="{30F43C4C-44E4-49CB-8395-BE6AEA7EA706}"/>
                </a:ext>
              </a:extLst>
            </p:cNvPr>
            <p:cNvSpPr/>
            <p:nvPr userDrawn="1"/>
          </p:nvSpPr>
          <p:spPr>
            <a:xfrm>
              <a:off x="12575423" y="2604463"/>
              <a:ext cx="347472" cy="347472"/>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a:p>
          </p:txBody>
        </p:sp>
        <p:sp>
          <p:nvSpPr>
            <p:cNvPr id="19" name="Rectangle 18">
              <a:extLst>
                <a:ext uri="{FF2B5EF4-FFF2-40B4-BE49-F238E27FC236}">
                  <a16:creationId xmlns:a16="http://schemas.microsoft.com/office/drawing/2014/main" id="{E4BBCA92-2684-41EA-B75C-0B87EC02D3D0}"/>
                </a:ext>
              </a:extLst>
            </p:cNvPr>
            <p:cNvSpPr/>
            <p:nvPr userDrawn="1"/>
          </p:nvSpPr>
          <p:spPr>
            <a:xfrm>
              <a:off x="12575423" y="2951375"/>
              <a:ext cx="347472" cy="347472"/>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a:p>
          </p:txBody>
        </p:sp>
        <p:sp>
          <p:nvSpPr>
            <p:cNvPr id="20" name="Rectangle 19">
              <a:extLst>
                <a:ext uri="{FF2B5EF4-FFF2-40B4-BE49-F238E27FC236}">
                  <a16:creationId xmlns:a16="http://schemas.microsoft.com/office/drawing/2014/main" id="{EEA525FA-187D-4B48-A802-7E91B3BA1ABE}"/>
                </a:ext>
              </a:extLst>
            </p:cNvPr>
            <p:cNvSpPr/>
            <p:nvPr userDrawn="1"/>
          </p:nvSpPr>
          <p:spPr>
            <a:xfrm>
              <a:off x="12575423" y="4334164"/>
              <a:ext cx="347472" cy="347472"/>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1" name="Rectangle 20">
              <a:extLst>
                <a:ext uri="{FF2B5EF4-FFF2-40B4-BE49-F238E27FC236}">
                  <a16:creationId xmlns:a16="http://schemas.microsoft.com/office/drawing/2014/main" id="{22591F01-AF34-47BE-A195-760F9DAB5D16}"/>
                </a:ext>
              </a:extLst>
            </p:cNvPr>
            <p:cNvSpPr/>
            <p:nvPr userDrawn="1"/>
          </p:nvSpPr>
          <p:spPr>
            <a:xfrm>
              <a:off x="12575423" y="5710816"/>
              <a:ext cx="347472" cy="347472"/>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2" name="Rectangle 21">
              <a:extLst>
                <a:ext uri="{FF2B5EF4-FFF2-40B4-BE49-F238E27FC236}">
                  <a16:creationId xmlns:a16="http://schemas.microsoft.com/office/drawing/2014/main" id="{0ACB6334-73F2-47B7-BB14-74F3838387DA}"/>
                </a:ext>
              </a:extLst>
            </p:cNvPr>
            <p:cNvSpPr/>
            <p:nvPr userDrawn="1"/>
          </p:nvSpPr>
          <p:spPr>
            <a:xfrm>
              <a:off x="12575423" y="6048324"/>
              <a:ext cx="347472" cy="347472"/>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3" name="Rectangle 22">
              <a:extLst>
                <a:ext uri="{FF2B5EF4-FFF2-40B4-BE49-F238E27FC236}">
                  <a16:creationId xmlns:a16="http://schemas.microsoft.com/office/drawing/2014/main" id="{B7FE7A3B-ABD9-4A3D-BD9E-A3F03278E59C}"/>
                </a:ext>
              </a:extLst>
            </p:cNvPr>
            <p:cNvSpPr/>
            <p:nvPr userDrawn="1"/>
          </p:nvSpPr>
          <p:spPr>
            <a:xfrm>
              <a:off x="12575423" y="7078237"/>
              <a:ext cx="347472" cy="347472"/>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4" name="Rectangle 23">
              <a:extLst>
                <a:ext uri="{FF2B5EF4-FFF2-40B4-BE49-F238E27FC236}">
                  <a16:creationId xmlns:a16="http://schemas.microsoft.com/office/drawing/2014/main" id="{0BCBEB8C-B1B9-495E-B180-3E64D32514DA}"/>
                </a:ext>
              </a:extLst>
            </p:cNvPr>
            <p:cNvSpPr/>
            <p:nvPr userDrawn="1"/>
          </p:nvSpPr>
          <p:spPr>
            <a:xfrm>
              <a:off x="12575423" y="6735214"/>
              <a:ext cx="347472" cy="34747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5" name="Rectangle 24">
              <a:extLst>
                <a:ext uri="{FF2B5EF4-FFF2-40B4-BE49-F238E27FC236}">
                  <a16:creationId xmlns:a16="http://schemas.microsoft.com/office/drawing/2014/main" id="{622302EA-491D-4C36-BCE0-C53381ED20D5}"/>
                </a:ext>
              </a:extLst>
            </p:cNvPr>
            <p:cNvSpPr/>
            <p:nvPr userDrawn="1"/>
          </p:nvSpPr>
          <p:spPr>
            <a:xfrm>
              <a:off x="12575423" y="6391347"/>
              <a:ext cx="347472" cy="34747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6" name="Rectangle 25">
              <a:extLst>
                <a:ext uri="{FF2B5EF4-FFF2-40B4-BE49-F238E27FC236}">
                  <a16:creationId xmlns:a16="http://schemas.microsoft.com/office/drawing/2014/main" id="{DF8B65A5-20CC-4693-BA09-8480B9C7DD09}"/>
                </a:ext>
              </a:extLst>
            </p:cNvPr>
            <p:cNvSpPr/>
            <p:nvPr userDrawn="1"/>
          </p:nvSpPr>
          <p:spPr>
            <a:xfrm>
              <a:off x="12575423" y="4679467"/>
              <a:ext cx="347472" cy="347472"/>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7" name="Rectangle 26">
              <a:extLst>
                <a:ext uri="{FF2B5EF4-FFF2-40B4-BE49-F238E27FC236}">
                  <a16:creationId xmlns:a16="http://schemas.microsoft.com/office/drawing/2014/main" id="{29D67B4A-34E1-41F3-9BB2-2E831EFC8A12}"/>
                </a:ext>
              </a:extLst>
            </p:cNvPr>
            <p:cNvSpPr/>
            <p:nvPr userDrawn="1"/>
          </p:nvSpPr>
          <p:spPr>
            <a:xfrm>
              <a:off x="12575423" y="5022490"/>
              <a:ext cx="347472" cy="34747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8" name="Rectangle 27">
              <a:extLst>
                <a:ext uri="{FF2B5EF4-FFF2-40B4-BE49-F238E27FC236}">
                  <a16:creationId xmlns:a16="http://schemas.microsoft.com/office/drawing/2014/main" id="{6294C733-76A3-409A-AE6F-B5E28BDC46FC}"/>
                </a:ext>
              </a:extLst>
            </p:cNvPr>
            <p:cNvSpPr/>
            <p:nvPr userDrawn="1"/>
          </p:nvSpPr>
          <p:spPr>
            <a:xfrm>
              <a:off x="12575423" y="5367793"/>
              <a:ext cx="347472" cy="34747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9" name="Rectangle 28">
              <a:extLst>
                <a:ext uri="{FF2B5EF4-FFF2-40B4-BE49-F238E27FC236}">
                  <a16:creationId xmlns:a16="http://schemas.microsoft.com/office/drawing/2014/main" id="{112C9CA7-3FC0-4016-8117-4D4148709314}"/>
                </a:ext>
              </a:extLst>
            </p:cNvPr>
            <p:cNvSpPr/>
            <p:nvPr userDrawn="1"/>
          </p:nvSpPr>
          <p:spPr>
            <a:xfrm>
              <a:off x="12575423" y="3298847"/>
              <a:ext cx="347472" cy="347472"/>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30" name="Rectangle 29">
              <a:extLst>
                <a:ext uri="{FF2B5EF4-FFF2-40B4-BE49-F238E27FC236}">
                  <a16:creationId xmlns:a16="http://schemas.microsoft.com/office/drawing/2014/main" id="{1DE64360-5219-4C1D-BA1A-11A7BCAA8B86}"/>
                </a:ext>
              </a:extLst>
            </p:cNvPr>
            <p:cNvSpPr/>
            <p:nvPr userDrawn="1"/>
          </p:nvSpPr>
          <p:spPr>
            <a:xfrm>
              <a:off x="12575423" y="3644150"/>
              <a:ext cx="347472" cy="34747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31" name="Rectangle 30">
              <a:extLst>
                <a:ext uri="{FF2B5EF4-FFF2-40B4-BE49-F238E27FC236}">
                  <a16:creationId xmlns:a16="http://schemas.microsoft.com/office/drawing/2014/main" id="{A1F40812-AC06-4095-AE4A-1AF0C07BDEA1}"/>
                </a:ext>
              </a:extLst>
            </p:cNvPr>
            <p:cNvSpPr/>
            <p:nvPr userDrawn="1"/>
          </p:nvSpPr>
          <p:spPr>
            <a:xfrm>
              <a:off x="12575423" y="3987173"/>
              <a:ext cx="347472" cy="347472"/>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grpSp>
      <p:sp>
        <p:nvSpPr>
          <p:cNvPr id="32" name="Rectangle 31">
            <a:extLst>
              <a:ext uri="{FF2B5EF4-FFF2-40B4-BE49-F238E27FC236}">
                <a16:creationId xmlns:a16="http://schemas.microsoft.com/office/drawing/2014/main" id="{CAF83D98-252D-4B6F-871A-059C747E7A66}"/>
              </a:ext>
            </a:extLst>
          </p:cNvPr>
          <p:cNvSpPr/>
          <p:nvPr userDrawn="1"/>
        </p:nvSpPr>
        <p:spPr>
          <a:xfrm rot="16200000">
            <a:off x="11722550" y="4349305"/>
            <a:ext cx="1394613"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tx2"/>
                </a:solidFill>
              </a:rPr>
              <a:t>Infographic Palette</a:t>
            </a:r>
          </a:p>
        </p:txBody>
      </p:sp>
      <p:sp>
        <p:nvSpPr>
          <p:cNvPr id="33" name="Rectangle 32">
            <a:extLst>
              <a:ext uri="{FF2B5EF4-FFF2-40B4-BE49-F238E27FC236}">
                <a16:creationId xmlns:a16="http://schemas.microsoft.com/office/drawing/2014/main" id="{6074A7CB-4D6B-4EE5-AA59-2B14646F9F3B}"/>
              </a:ext>
            </a:extLst>
          </p:cNvPr>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Primary</a:t>
            </a:r>
          </a:p>
        </p:txBody>
      </p:sp>
    </p:spTree>
    <p:extLst>
      <p:ext uri="{BB962C8B-B14F-4D97-AF65-F5344CB8AC3E}">
        <p14:creationId xmlns:p14="http://schemas.microsoft.com/office/powerpoint/2010/main" val="1525677994"/>
      </p:ext>
    </p:extLst>
  </p:cSld>
  <p:clrMap bg1="dk1" tx1="lt1" bg2="dk2" tx2="lt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3" r:id="rId5"/>
    <p:sldLayoutId id="2147483714" r:id="rId6"/>
  </p:sldLayoutIdLst>
  <p:txStyles>
    <p:title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p:titleStyle>
    <p:body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57">
          <p15:clr>
            <a:srgbClr val="F26B43"/>
          </p15:clr>
        </p15:guide>
        <p15:guide id="4" pos="7514">
          <p15:clr>
            <a:srgbClr val="F26B43"/>
          </p15:clr>
        </p15:guide>
        <p15:guide id="5" orient="horz" pos="255">
          <p15:clr>
            <a:srgbClr val="F26B43"/>
          </p15:clr>
        </p15:guide>
        <p15:guide id="6" orient="horz" pos="4020">
          <p15:clr>
            <a:srgbClr val="F26B43"/>
          </p15:clr>
        </p15:guide>
        <p15:guide id="7" orient="horz" pos="89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251999"/>
            <a:ext cx="11370944" cy="900000"/>
          </a:xfrm>
          <a:prstGeom prst="rect">
            <a:avLst/>
          </a:prstGeom>
        </p:spPr>
        <p:txBody>
          <a:bodyPr vert="horz" lIns="0" tIns="0" rIns="0" bIns="0" rtlCol="0" anchor="ctr" anchorCtr="0">
            <a:normAutofit/>
          </a:bodyPr>
          <a:lstStyle/>
          <a:p>
            <a:pPr lvl="0"/>
            <a:r>
              <a:rPr lang="en-US"/>
              <a:t>Click to edit Master title style</a:t>
            </a:r>
            <a:endParaRPr lang="pt-PT"/>
          </a:p>
        </p:txBody>
      </p:sp>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p:txBody>
      </p:sp>
      <p:grpSp>
        <p:nvGrpSpPr>
          <p:cNvPr id="3" name="Group 2"/>
          <p:cNvGrpSpPr/>
          <p:nvPr userDrawn="1"/>
        </p:nvGrpSpPr>
        <p:grpSpPr>
          <a:xfrm rot="5400000">
            <a:off x="11885731" y="885110"/>
            <a:ext cx="1723717" cy="344332"/>
            <a:chOff x="12496801" y="706628"/>
            <a:chExt cx="2975350" cy="594360"/>
          </a:xfrm>
        </p:grpSpPr>
        <p:sp>
          <p:nvSpPr>
            <p:cNvPr id="5" name="Rectangle 4"/>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6" name="Rectangle 5"/>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7" name="Rectangle 6"/>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8" name="Rectangle 7"/>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0" name="Rectangle 9"/>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grpSp>
      <p:sp>
        <p:nvSpPr>
          <p:cNvPr id="26" name="Rectangle 25"/>
          <p:cNvSpPr/>
          <p:nvPr userDrawn="1"/>
        </p:nvSpPr>
        <p:spPr>
          <a:xfrm rot="16200000">
            <a:off x="11722550" y="4349305"/>
            <a:ext cx="1394613"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tx2"/>
                </a:solidFill>
              </a:rPr>
              <a:t>Infographic Palette</a:t>
            </a:r>
          </a:p>
        </p:txBody>
      </p:sp>
      <p:grpSp>
        <p:nvGrpSpPr>
          <p:cNvPr id="64" name="Group 63"/>
          <p:cNvGrpSpPr/>
          <p:nvPr userDrawn="1"/>
        </p:nvGrpSpPr>
        <p:grpSpPr>
          <a:xfrm>
            <a:off x="12575423" y="2015626"/>
            <a:ext cx="347472" cy="4821246"/>
            <a:chOff x="12575423" y="2604463"/>
            <a:chExt cx="347472" cy="4821246"/>
          </a:xfrm>
        </p:grpSpPr>
        <p:sp>
          <p:nvSpPr>
            <p:cNvPr id="11" name="Rectangle 10"/>
            <p:cNvSpPr/>
            <p:nvPr userDrawn="1"/>
          </p:nvSpPr>
          <p:spPr>
            <a:xfrm>
              <a:off x="12575423" y="2604463"/>
              <a:ext cx="347472" cy="347472"/>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a:p>
          </p:txBody>
        </p:sp>
        <p:sp>
          <p:nvSpPr>
            <p:cNvPr id="12" name="Rectangle 11"/>
            <p:cNvSpPr/>
            <p:nvPr userDrawn="1"/>
          </p:nvSpPr>
          <p:spPr>
            <a:xfrm>
              <a:off x="12575423" y="2951375"/>
              <a:ext cx="347472" cy="347472"/>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a:p>
          </p:txBody>
        </p:sp>
        <p:sp>
          <p:nvSpPr>
            <p:cNvPr id="15" name="Rectangle 14"/>
            <p:cNvSpPr/>
            <p:nvPr userDrawn="1"/>
          </p:nvSpPr>
          <p:spPr>
            <a:xfrm>
              <a:off x="12575423" y="4334164"/>
              <a:ext cx="347472" cy="347472"/>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6" name="Rectangle 15"/>
            <p:cNvSpPr/>
            <p:nvPr userDrawn="1"/>
          </p:nvSpPr>
          <p:spPr>
            <a:xfrm>
              <a:off x="12575423" y="5710816"/>
              <a:ext cx="347472" cy="347472"/>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8" name="Rectangle 17"/>
            <p:cNvSpPr/>
            <p:nvPr userDrawn="1"/>
          </p:nvSpPr>
          <p:spPr>
            <a:xfrm>
              <a:off x="12575423" y="6048324"/>
              <a:ext cx="347472" cy="347472"/>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9" name="Rectangle 18"/>
            <p:cNvSpPr/>
            <p:nvPr userDrawn="1"/>
          </p:nvSpPr>
          <p:spPr>
            <a:xfrm>
              <a:off x="12575423" y="7078237"/>
              <a:ext cx="347472" cy="347472"/>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0" name="Rectangle 19"/>
            <p:cNvSpPr/>
            <p:nvPr userDrawn="1"/>
          </p:nvSpPr>
          <p:spPr>
            <a:xfrm>
              <a:off x="12575423" y="6735214"/>
              <a:ext cx="347472" cy="34747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1" name="Rectangle 20"/>
            <p:cNvSpPr/>
            <p:nvPr userDrawn="1"/>
          </p:nvSpPr>
          <p:spPr>
            <a:xfrm>
              <a:off x="12575423" y="6391347"/>
              <a:ext cx="347472" cy="34747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2" name="Rectangle 21"/>
            <p:cNvSpPr/>
            <p:nvPr userDrawn="1"/>
          </p:nvSpPr>
          <p:spPr>
            <a:xfrm>
              <a:off x="12575423" y="4679467"/>
              <a:ext cx="347472" cy="347472"/>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3" name="Rectangle 22"/>
            <p:cNvSpPr/>
            <p:nvPr userDrawn="1"/>
          </p:nvSpPr>
          <p:spPr>
            <a:xfrm>
              <a:off x="12575423" y="5022490"/>
              <a:ext cx="347472" cy="34747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4" name="Rectangle 23"/>
            <p:cNvSpPr/>
            <p:nvPr userDrawn="1"/>
          </p:nvSpPr>
          <p:spPr>
            <a:xfrm>
              <a:off x="12575423" y="5367793"/>
              <a:ext cx="347472" cy="34747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4" name="Rectangle 13"/>
            <p:cNvSpPr/>
            <p:nvPr userDrawn="1"/>
          </p:nvSpPr>
          <p:spPr>
            <a:xfrm>
              <a:off x="12575423" y="3298847"/>
              <a:ext cx="347472" cy="347472"/>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7" name="Rectangle 16"/>
            <p:cNvSpPr/>
            <p:nvPr userDrawn="1"/>
          </p:nvSpPr>
          <p:spPr>
            <a:xfrm>
              <a:off x="12575423" y="3644150"/>
              <a:ext cx="347472" cy="34747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8" name="Rectangle 27"/>
            <p:cNvSpPr/>
            <p:nvPr userDrawn="1"/>
          </p:nvSpPr>
          <p:spPr>
            <a:xfrm>
              <a:off x="12575423" y="3987173"/>
              <a:ext cx="347472" cy="347472"/>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grpSp>
      <p:sp>
        <p:nvSpPr>
          <p:cNvPr id="60" name="Rectangle 59"/>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Primary</a:t>
            </a:r>
          </a:p>
        </p:txBody>
      </p:sp>
    </p:spTree>
    <p:extLst>
      <p:ext uri="{BB962C8B-B14F-4D97-AF65-F5344CB8AC3E}">
        <p14:creationId xmlns:p14="http://schemas.microsoft.com/office/powerpoint/2010/main" val="2045978432"/>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Lst>
  <p:txStyles>
    <p:titleStyle>
      <a:lvl1pPr algn="l" defTabSz="914400" rtl="0" eaLnBrk="1" latinLnBrk="0" hangingPunct="1">
        <a:lnSpc>
          <a:spcPct val="88000"/>
        </a:lnSpc>
        <a:spcBef>
          <a:spcPct val="0"/>
        </a:spcBef>
        <a:buNone/>
        <a:defRPr lang="pt-PT" sz="3000" kern="1200" spc="-40" baseline="0" dirty="0">
          <a:solidFill>
            <a:schemeClr val="tx2"/>
          </a:solidFill>
          <a:latin typeface="Ubuntu" panose="020B050403060203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2400" kern="1200" spc="-30" baseline="0">
          <a:solidFill>
            <a:schemeClr val="tx1"/>
          </a:solidFill>
          <a:latin typeface="Ubuntu" panose="020B0504030602030204" pitchFamily="34" charset="0"/>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2000" kern="1200" spc="-30" baseline="0">
          <a:solidFill>
            <a:schemeClr val="tx1"/>
          </a:solidFill>
          <a:latin typeface="Ubuntu" panose="020B0504030602030204" pitchFamily="34" charset="0"/>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800" kern="1200" spc="-30" baseline="0">
          <a:solidFill>
            <a:schemeClr val="tx1"/>
          </a:solidFill>
          <a:latin typeface="Ubuntu" panose="020B0504030602030204" pitchFamily="34" charset="0"/>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600" kern="1200" spc="-30" baseline="0">
          <a:solidFill>
            <a:schemeClr val="tx1"/>
          </a:solidFill>
          <a:latin typeface="Ubuntu" panose="020B0504030602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a:t>Click to edit Master title style</a:t>
            </a:r>
            <a:endParaRPr lang="pt-PT"/>
          </a:p>
        </p:txBody>
      </p:sp>
      <p:grpSp>
        <p:nvGrpSpPr>
          <p:cNvPr id="3" name="Group 2"/>
          <p:cNvGrpSpPr/>
          <p:nvPr userDrawn="1"/>
        </p:nvGrpSpPr>
        <p:grpSpPr>
          <a:xfrm rot="5400000">
            <a:off x="11885731" y="885110"/>
            <a:ext cx="1723717" cy="344332"/>
            <a:chOff x="12496801" y="706628"/>
            <a:chExt cx="2975350" cy="594360"/>
          </a:xfrm>
        </p:grpSpPr>
        <p:sp>
          <p:nvSpPr>
            <p:cNvPr id="5" name="Rectangle 4"/>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6" name="Rectangle 5"/>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7" name="Rectangle 6"/>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8" name="Rectangle 7"/>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0" name="Rectangle 9"/>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grpSp>
      <p:sp>
        <p:nvSpPr>
          <p:cNvPr id="26" name="Rectangle 25"/>
          <p:cNvSpPr/>
          <p:nvPr userDrawn="1"/>
        </p:nvSpPr>
        <p:spPr>
          <a:xfrm rot="16200000">
            <a:off x="11722550" y="4349305"/>
            <a:ext cx="1394613"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tx2"/>
                </a:solidFill>
              </a:rPr>
              <a:t>Infographic Palette</a:t>
            </a:r>
          </a:p>
        </p:txBody>
      </p:sp>
      <p:grpSp>
        <p:nvGrpSpPr>
          <p:cNvPr id="64" name="Group 63"/>
          <p:cNvGrpSpPr/>
          <p:nvPr userDrawn="1"/>
        </p:nvGrpSpPr>
        <p:grpSpPr>
          <a:xfrm>
            <a:off x="12575423" y="2015626"/>
            <a:ext cx="347472" cy="4821246"/>
            <a:chOff x="12575423" y="2604463"/>
            <a:chExt cx="347472" cy="4821246"/>
          </a:xfrm>
        </p:grpSpPr>
        <p:sp>
          <p:nvSpPr>
            <p:cNvPr id="11" name="Rectangle 10"/>
            <p:cNvSpPr/>
            <p:nvPr userDrawn="1"/>
          </p:nvSpPr>
          <p:spPr>
            <a:xfrm>
              <a:off x="12575423" y="2604463"/>
              <a:ext cx="347472" cy="347472"/>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a:p>
          </p:txBody>
        </p:sp>
        <p:sp>
          <p:nvSpPr>
            <p:cNvPr id="12" name="Rectangle 11"/>
            <p:cNvSpPr/>
            <p:nvPr userDrawn="1"/>
          </p:nvSpPr>
          <p:spPr>
            <a:xfrm>
              <a:off x="12575423" y="2951375"/>
              <a:ext cx="347472" cy="347472"/>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a:p>
          </p:txBody>
        </p:sp>
        <p:sp>
          <p:nvSpPr>
            <p:cNvPr id="15" name="Rectangle 14"/>
            <p:cNvSpPr/>
            <p:nvPr userDrawn="1"/>
          </p:nvSpPr>
          <p:spPr>
            <a:xfrm>
              <a:off x="12575423" y="4334164"/>
              <a:ext cx="347472" cy="347472"/>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6" name="Rectangle 15"/>
            <p:cNvSpPr/>
            <p:nvPr userDrawn="1"/>
          </p:nvSpPr>
          <p:spPr>
            <a:xfrm>
              <a:off x="12575423" y="5710816"/>
              <a:ext cx="347472" cy="347472"/>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8" name="Rectangle 17"/>
            <p:cNvSpPr/>
            <p:nvPr userDrawn="1"/>
          </p:nvSpPr>
          <p:spPr>
            <a:xfrm>
              <a:off x="12575423" y="6048324"/>
              <a:ext cx="347472" cy="347472"/>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9" name="Rectangle 18"/>
            <p:cNvSpPr/>
            <p:nvPr userDrawn="1"/>
          </p:nvSpPr>
          <p:spPr>
            <a:xfrm>
              <a:off x="12575423" y="7078237"/>
              <a:ext cx="347472" cy="347472"/>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0" name="Rectangle 19"/>
            <p:cNvSpPr/>
            <p:nvPr userDrawn="1"/>
          </p:nvSpPr>
          <p:spPr>
            <a:xfrm>
              <a:off x="12575423" y="6735214"/>
              <a:ext cx="347472" cy="34747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1" name="Rectangle 20"/>
            <p:cNvSpPr/>
            <p:nvPr userDrawn="1"/>
          </p:nvSpPr>
          <p:spPr>
            <a:xfrm>
              <a:off x="12575423" y="6391347"/>
              <a:ext cx="347472" cy="34747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2" name="Rectangle 21"/>
            <p:cNvSpPr/>
            <p:nvPr userDrawn="1"/>
          </p:nvSpPr>
          <p:spPr>
            <a:xfrm>
              <a:off x="12575423" y="4679467"/>
              <a:ext cx="347472" cy="347472"/>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3" name="Rectangle 22"/>
            <p:cNvSpPr/>
            <p:nvPr userDrawn="1"/>
          </p:nvSpPr>
          <p:spPr>
            <a:xfrm>
              <a:off x="12575423" y="5022490"/>
              <a:ext cx="347472" cy="34747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4" name="Rectangle 23"/>
            <p:cNvSpPr/>
            <p:nvPr userDrawn="1"/>
          </p:nvSpPr>
          <p:spPr>
            <a:xfrm>
              <a:off x="12575423" y="5367793"/>
              <a:ext cx="347472" cy="34747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4" name="Rectangle 13"/>
            <p:cNvSpPr/>
            <p:nvPr userDrawn="1"/>
          </p:nvSpPr>
          <p:spPr>
            <a:xfrm>
              <a:off x="12575423" y="3298847"/>
              <a:ext cx="347472" cy="347472"/>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7" name="Rectangle 16"/>
            <p:cNvSpPr/>
            <p:nvPr userDrawn="1"/>
          </p:nvSpPr>
          <p:spPr>
            <a:xfrm>
              <a:off x="12575423" y="3644150"/>
              <a:ext cx="347472" cy="34747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8" name="Rectangle 27"/>
            <p:cNvSpPr/>
            <p:nvPr userDrawn="1"/>
          </p:nvSpPr>
          <p:spPr>
            <a:xfrm>
              <a:off x="12575423" y="3987173"/>
              <a:ext cx="347472" cy="347472"/>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grpSp>
      <p:sp>
        <p:nvSpPr>
          <p:cNvPr id="60" name="Rectangle 59"/>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Primary</a:t>
            </a:r>
          </a:p>
        </p:txBody>
      </p:sp>
      <p:sp>
        <p:nvSpPr>
          <p:cNvPr id="27" name="Retângulo 43">
            <a:extLst>
              <a:ext uri="{FF2B5EF4-FFF2-40B4-BE49-F238E27FC236}">
                <a16:creationId xmlns:a16="http://schemas.microsoft.com/office/drawing/2014/main" id="{56AD97A8-8CD7-44B9-9D00-E65EF559B97E}"/>
              </a:ext>
            </a:extLst>
          </p:cNvPr>
          <p:cNvSpPr/>
          <p:nvPr userDrawn="1"/>
        </p:nvSpPr>
        <p:spPr>
          <a:xfrm>
            <a:off x="10324528" y="6586492"/>
            <a:ext cx="1658074" cy="180425"/>
          </a:xfrm>
          <a:prstGeom prst="rect">
            <a:avLst/>
          </a:prstGeom>
        </p:spPr>
        <p:txBody>
          <a:bodyPr wrap="none" lIns="36000" tIns="36000" rIns="36000" bIns="3600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dirty="0">
                <a:solidFill>
                  <a:schemeClr val="bg2">
                    <a:lumMod val="50000"/>
                  </a:schemeClr>
                </a:solidFill>
                <a:cs typeface="Arial" panose="020B0604020202020204" pitchFamily="34" charset="0"/>
              </a:rPr>
              <a:t>© 2022 Sogeti. All rights reserved.</a:t>
            </a:r>
            <a:endParaRPr lang="en-US" sz="700" dirty="0">
              <a:solidFill>
                <a:schemeClr val="bg2">
                  <a:lumMod val="50000"/>
                </a:schemeClr>
              </a:solidFill>
            </a:endParaRPr>
          </a:p>
        </p:txBody>
      </p:sp>
    </p:spTree>
    <p:extLst>
      <p:ext uri="{BB962C8B-B14F-4D97-AF65-F5344CB8AC3E}">
        <p14:creationId xmlns:p14="http://schemas.microsoft.com/office/powerpoint/2010/main" val="13946786"/>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Lst>
  <p:txStyles>
    <p:titleStyle>
      <a:lvl1pPr algn="l" defTabSz="914400" rtl="0" eaLnBrk="1" latinLnBrk="0" hangingPunct="1">
        <a:lnSpc>
          <a:spcPct val="90000"/>
        </a:lnSpc>
        <a:spcBef>
          <a:spcPct val="0"/>
        </a:spcBef>
        <a:buNone/>
        <a:defRPr lang="pt-PT" sz="2600" b="1" i="0" kern="1200">
          <a:solidFill>
            <a:schemeClr val="tx2"/>
          </a:solidFill>
          <a:latin typeface="Ubuntu" panose="020B050403060203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24.png"/><Relationship Id="rId3" Type="http://schemas.openxmlformats.org/officeDocument/2006/relationships/image" Target="../media/image34.png"/><Relationship Id="rId7" Type="http://schemas.openxmlformats.org/officeDocument/2006/relationships/image" Target="../media/image38.svg"/><Relationship Id="rId12" Type="http://schemas.openxmlformats.org/officeDocument/2006/relationships/image" Target="../media/image43.png"/><Relationship Id="rId2" Type="http://schemas.openxmlformats.org/officeDocument/2006/relationships/notesSlide" Target="../notesSlides/notesSlide1.xml"/><Relationship Id="rId1" Type="http://schemas.openxmlformats.org/officeDocument/2006/relationships/slideLayout" Target="../slideLayouts/slideLayout16.xml"/><Relationship Id="rId6" Type="http://schemas.openxmlformats.org/officeDocument/2006/relationships/image" Target="../media/image37.png"/><Relationship Id="rId11" Type="http://schemas.openxmlformats.org/officeDocument/2006/relationships/image" Target="../media/image42.png"/><Relationship Id="rId5" Type="http://schemas.openxmlformats.org/officeDocument/2006/relationships/image" Target="../media/image36.png"/><Relationship Id="rId10" Type="http://schemas.openxmlformats.org/officeDocument/2006/relationships/image" Target="../media/image41.png"/><Relationship Id="rId4" Type="http://schemas.openxmlformats.org/officeDocument/2006/relationships/image" Target="../media/image35.png"/><Relationship Id="rId9" Type="http://schemas.openxmlformats.org/officeDocument/2006/relationships/image" Target="../media/image40.svg"/></Relationships>
</file>

<file path=ppt/slides/_rels/slide1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86.tiff"/><Relationship Id="rId1" Type="http://schemas.openxmlformats.org/officeDocument/2006/relationships/slideLayout" Target="../slideLayouts/slideLayout41.xml"/><Relationship Id="rId6" Type="http://schemas.openxmlformats.org/officeDocument/2006/relationships/image" Target="../media/image52.png"/><Relationship Id="rId5" Type="http://schemas.openxmlformats.org/officeDocument/2006/relationships/image" Target="../media/image33.png"/><Relationship Id="rId4" Type="http://schemas.openxmlformats.org/officeDocument/2006/relationships/image" Target="../media/image93.png"/></Relationships>
</file>

<file path=ppt/slides/_rels/slide1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80.png"/><Relationship Id="rId1" Type="http://schemas.openxmlformats.org/officeDocument/2006/relationships/slideLayout" Target="../slideLayouts/slideLayout41.xml"/><Relationship Id="rId5" Type="http://schemas.openxmlformats.org/officeDocument/2006/relationships/image" Target="../media/image94.png"/><Relationship Id="rId4" Type="http://schemas.openxmlformats.org/officeDocument/2006/relationships/image" Target="../media/image52.png"/></Relationships>
</file>

<file path=ppt/slides/_rels/slide1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80.png"/><Relationship Id="rId1" Type="http://schemas.openxmlformats.org/officeDocument/2006/relationships/slideLayout" Target="../slideLayouts/slideLayout41.xml"/><Relationship Id="rId5" Type="http://schemas.openxmlformats.org/officeDocument/2006/relationships/image" Target="../media/image95.png"/><Relationship Id="rId4" Type="http://schemas.openxmlformats.org/officeDocument/2006/relationships/image" Target="../media/image52.png"/></Relationships>
</file>

<file path=ppt/slides/_rels/slide1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80.png"/><Relationship Id="rId1" Type="http://schemas.openxmlformats.org/officeDocument/2006/relationships/slideLayout" Target="../slideLayouts/slideLayout41.xml"/><Relationship Id="rId6" Type="http://schemas.openxmlformats.org/officeDocument/2006/relationships/image" Target="../media/image96.png"/><Relationship Id="rId5" Type="http://schemas.openxmlformats.org/officeDocument/2006/relationships/image" Target="../media/image52.png"/><Relationship Id="rId4" Type="http://schemas.openxmlformats.org/officeDocument/2006/relationships/image" Target="../media/image33.png"/></Relationships>
</file>

<file path=ppt/slides/_rels/slide1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80.png"/><Relationship Id="rId1" Type="http://schemas.openxmlformats.org/officeDocument/2006/relationships/slideLayout" Target="../slideLayouts/slideLayout41.xml"/></Relationships>
</file>

<file path=ppt/slides/_rels/slide1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86.tiff"/><Relationship Id="rId1" Type="http://schemas.openxmlformats.org/officeDocument/2006/relationships/slideLayout" Target="../slideLayouts/slideLayout41.xml"/><Relationship Id="rId5" Type="http://schemas.openxmlformats.org/officeDocument/2006/relationships/image" Target="../media/image33.png"/><Relationship Id="rId4" Type="http://schemas.openxmlformats.org/officeDocument/2006/relationships/image" Target="../media/image93.png"/></Relationships>
</file>

<file path=ppt/slides/_rels/slide1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51.png"/><Relationship Id="rId18" Type="http://schemas.openxmlformats.org/officeDocument/2006/relationships/image" Target="../media/image56.png"/><Relationship Id="rId3" Type="http://schemas.openxmlformats.org/officeDocument/2006/relationships/image" Target="../media/image44.png"/><Relationship Id="rId21" Type="http://schemas.openxmlformats.org/officeDocument/2006/relationships/image" Target="../media/image59.png"/><Relationship Id="rId7" Type="http://schemas.openxmlformats.org/officeDocument/2006/relationships/image" Target="../media/image47.png"/><Relationship Id="rId12" Type="http://schemas.openxmlformats.org/officeDocument/2006/relationships/image" Target="../media/image50.png"/><Relationship Id="rId17" Type="http://schemas.openxmlformats.org/officeDocument/2006/relationships/image" Target="../media/image55.png"/><Relationship Id="rId2" Type="http://schemas.openxmlformats.org/officeDocument/2006/relationships/notesSlide" Target="../notesSlides/notesSlide2.xml"/><Relationship Id="rId16" Type="http://schemas.openxmlformats.org/officeDocument/2006/relationships/image" Target="../media/image54.png"/><Relationship Id="rId20" Type="http://schemas.openxmlformats.org/officeDocument/2006/relationships/image" Target="../media/image58.png"/><Relationship Id="rId1" Type="http://schemas.openxmlformats.org/officeDocument/2006/relationships/slideLayout" Target="../slideLayouts/slideLayout27.xml"/><Relationship Id="rId6" Type="http://schemas.openxmlformats.org/officeDocument/2006/relationships/image" Target="../media/image46.svg"/><Relationship Id="rId11" Type="http://schemas.openxmlformats.org/officeDocument/2006/relationships/image" Target="../media/image49.png"/><Relationship Id="rId5" Type="http://schemas.openxmlformats.org/officeDocument/2006/relationships/image" Target="../media/image45.png"/><Relationship Id="rId15" Type="http://schemas.openxmlformats.org/officeDocument/2006/relationships/image" Target="../media/image53.png"/><Relationship Id="rId10" Type="http://schemas.openxmlformats.org/officeDocument/2006/relationships/image" Target="../media/image48.png"/><Relationship Id="rId19" Type="http://schemas.openxmlformats.org/officeDocument/2006/relationships/image" Target="../media/image57.png"/><Relationship Id="rId4" Type="http://schemas.openxmlformats.org/officeDocument/2006/relationships/hyperlink" Target="https://www.sourceglobalresearch.com/" TargetMode="External"/><Relationship Id="rId9" Type="http://schemas.openxmlformats.org/officeDocument/2006/relationships/image" Target="../media/image38.svg"/><Relationship Id="rId14" Type="http://schemas.openxmlformats.org/officeDocument/2006/relationships/image" Target="../media/image52.png"/><Relationship Id="rId22" Type="http://schemas.openxmlformats.org/officeDocument/2006/relationships/image" Target="../media/image60.png"/></Relationships>
</file>

<file path=ppt/slides/_rels/slide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xml"/><Relationship Id="rId1" Type="http://schemas.openxmlformats.org/officeDocument/2006/relationships/slideLayout" Target="../slideLayouts/slideLayout19.xml"/><Relationship Id="rId6" Type="http://schemas.openxmlformats.org/officeDocument/2006/relationships/image" Target="../media/image24.png"/><Relationship Id="rId5" Type="http://schemas.openxmlformats.org/officeDocument/2006/relationships/image" Target="../media/image61.png"/><Relationship Id="rId4" Type="http://schemas.openxmlformats.org/officeDocument/2006/relationships/image" Target="../media/image36.png"/></Relationships>
</file>

<file path=ppt/slides/_rels/slide4.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notesSlide" Target="../notesSlides/notesSlide4.xml"/><Relationship Id="rId1" Type="http://schemas.openxmlformats.org/officeDocument/2006/relationships/slideLayout" Target="../slideLayouts/slideLayout21.xml"/><Relationship Id="rId6" Type="http://schemas.openxmlformats.org/officeDocument/2006/relationships/image" Target="../media/image65.tiff"/><Relationship Id="rId11" Type="http://schemas.openxmlformats.org/officeDocument/2006/relationships/image" Target="../media/image70.png"/><Relationship Id="rId5" Type="http://schemas.openxmlformats.org/officeDocument/2006/relationships/image" Target="../media/image64.png"/><Relationship Id="rId10" Type="http://schemas.openxmlformats.org/officeDocument/2006/relationships/image" Target="../media/image69.tiff"/><Relationship Id="rId4" Type="http://schemas.openxmlformats.org/officeDocument/2006/relationships/image" Target="../media/image63.png"/><Relationship Id="rId9" Type="http://schemas.openxmlformats.org/officeDocument/2006/relationships/image" Target="../media/image68.png"/><Relationship Id="rId14" Type="http://schemas.openxmlformats.org/officeDocument/2006/relationships/image" Target="../media/image51.png"/></Relationships>
</file>

<file path=ppt/slides/_rels/slide5.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73.png"/><Relationship Id="rId7" Type="http://schemas.openxmlformats.org/officeDocument/2006/relationships/image" Target="../media/image77.png"/><Relationship Id="rId2" Type="http://schemas.openxmlformats.org/officeDocument/2006/relationships/notesSlide" Target="../notesSlides/notesSlide5.xml"/><Relationship Id="rId1" Type="http://schemas.openxmlformats.org/officeDocument/2006/relationships/slideLayout" Target="../slideLayouts/slideLayout21.xml"/><Relationship Id="rId6" Type="http://schemas.openxmlformats.org/officeDocument/2006/relationships/image" Target="../media/image76.png"/><Relationship Id="rId11" Type="http://schemas.openxmlformats.org/officeDocument/2006/relationships/image" Target="../media/image54.png"/><Relationship Id="rId5" Type="http://schemas.openxmlformats.org/officeDocument/2006/relationships/image" Target="../media/image75.png"/><Relationship Id="rId10" Type="http://schemas.openxmlformats.org/officeDocument/2006/relationships/image" Target="../media/image80.png"/><Relationship Id="rId4" Type="http://schemas.openxmlformats.org/officeDocument/2006/relationships/image" Target="../media/image74.png"/><Relationship Id="rId9" Type="http://schemas.openxmlformats.org/officeDocument/2006/relationships/image" Target="../media/image79.png"/></Relationships>
</file>

<file path=ppt/slides/_rels/slide6.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notesSlide" Target="../notesSlides/notesSlide6.xml"/><Relationship Id="rId1" Type="http://schemas.openxmlformats.org/officeDocument/2006/relationships/slideLayout" Target="../slideLayouts/slideLayout21.xml"/><Relationship Id="rId6" Type="http://schemas.openxmlformats.org/officeDocument/2006/relationships/image" Target="../media/image84.tiff"/><Relationship Id="rId5" Type="http://schemas.openxmlformats.org/officeDocument/2006/relationships/image" Target="../media/image83.tiff"/><Relationship Id="rId4" Type="http://schemas.openxmlformats.org/officeDocument/2006/relationships/image" Target="../media/image82.tiff"/></Relationships>
</file>

<file path=ppt/slides/_rels/slide7.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image" Target="../media/image86.tiff"/><Relationship Id="rId7" Type="http://schemas.openxmlformats.org/officeDocument/2006/relationships/image" Target="../media/image90.png"/><Relationship Id="rId2" Type="http://schemas.openxmlformats.org/officeDocument/2006/relationships/notesSlide" Target="../notesSlides/notesSlide7.xml"/><Relationship Id="rId1" Type="http://schemas.openxmlformats.org/officeDocument/2006/relationships/slideLayout" Target="../slideLayouts/slideLayout21.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87.png"/></Relationships>
</file>

<file path=ppt/slides/_rels/slide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19.xml"/><Relationship Id="rId6" Type="http://schemas.openxmlformats.org/officeDocument/2006/relationships/image" Target="../media/image92.png"/><Relationship Id="rId5" Type="http://schemas.openxmlformats.org/officeDocument/2006/relationships/image" Target="../media/image24.png"/><Relationship Id="rId4" Type="http://schemas.openxmlformats.org/officeDocument/2006/relationships/image" Target="../media/image36.png"/></Relationships>
</file>

<file path=ppt/slides/_rels/slide9.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4.png"/><Relationship Id="rId7" Type="http://schemas.openxmlformats.org/officeDocument/2006/relationships/image" Target="../media/image76.png"/><Relationship Id="rId2" Type="http://schemas.openxmlformats.org/officeDocument/2006/relationships/image" Target="../media/image80.png"/><Relationship Id="rId1" Type="http://schemas.openxmlformats.org/officeDocument/2006/relationships/slideLayout" Target="../slideLayouts/slideLayout41.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Image 27">
            <a:extLst>
              <a:ext uri="{FF2B5EF4-FFF2-40B4-BE49-F238E27FC236}">
                <a16:creationId xmlns:a16="http://schemas.microsoft.com/office/drawing/2014/main" id="{D7A4FF01-9A39-4563-ABE3-970616F4E87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808368" flipV="1">
            <a:off x="-954007" y="-651467"/>
            <a:ext cx="8628286" cy="6100537"/>
          </a:xfrm>
          <a:prstGeom prst="rect">
            <a:avLst/>
          </a:prstGeom>
        </p:spPr>
      </p:pic>
      <p:pic>
        <p:nvPicPr>
          <p:cNvPr id="127" name="Imagen 126" descr="Imagen en blanco y negro&#10;&#10;Descripción generada automáticamente con confianza baja">
            <a:extLst>
              <a:ext uri="{FF2B5EF4-FFF2-40B4-BE49-F238E27FC236}">
                <a16:creationId xmlns:a16="http://schemas.microsoft.com/office/drawing/2014/main" id="{D90EA384-D1F4-46FD-A8B9-B034BE366377}"/>
              </a:ext>
            </a:extLst>
          </p:cNvPr>
          <p:cNvPicPr>
            <a:picLocks noChangeAspect="1"/>
          </p:cNvPicPr>
          <p:nvPr/>
        </p:nvPicPr>
        <p:blipFill rotWithShape="1">
          <a:blip r:embed="rId4"/>
          <a:srcRect t="26633" r="21015" b="44025"/>
          <a:stretch/>
        </p:blipFill>
        <p:spPr>
          <a:xfrm>
            <a:off x="4090020" y="3829050"/>
            <a:ext cx="8153400" cy="3028950"/>
          </a:xfrm>
          <a:prstGeom prst="rect">
            <a:avLst/>
          </a:prstGeom>
        </p:spPr>
      </p:pic>
      <p:sp>
        <p:nvSpPr>
          <p:cNvPr id="16" name="Rectángulo 15">
            <a:extLst>
              <a:ext uri="{FF2B5EF4-FFF2-40B4-BE49-F238E27FC236}">
                <a16:creationId xmlns:a16="http://schemas.microsoft.com/office/drawing/2014/main" id="{11D4CA78-0D36-4EBB-A9E8-19FA53BEEC67}"/>
              </a:ext>
            </a:extLst>
          </p:cNvPr>
          <p:cNvSpPr/>
          <p:nvPr/>
        </p:nvSpPr>
        <p:spPr>
          <a:xfrm>
            <a:off x="11026186" y="6145414"/>
            <a:ext cx="992579" cy="552139"/>
          </a:xfrm>
          <a:prstGeom prst="rect">
            <a:avLst/>
          </a:prstGeom>
        </p:spPr>
        <p:txBody>
          <a:bodyPr wrap="square">
            <a:spAutoFit/>
          </a:bodyPr>
          <a:lstStyle/>
          <a:p>
            <a:pPr marL="0" marR="0" lvl="0" indent="0" algn="l" defTabSz="914400" rtl="0" eaLnBrk="1" fontAlgn="auto" latinLnBrk="0" hangingPunct="1">
              <a:lnSpc>
                <a:spcPts val="44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Ubuntu Mono" panose="020B0509030602030204" pitchFamily="49" charset="0"/>
                <a:ea typeface="+mn-ea"/>
                <a:cs typeface="+mn-cs"/>
              </a:rPr>
              <a:t>sogeti.es</a:t>
            </a:r>
            <a:endParaRPr kumimoji="0" lang="en-GB" sz="1400" b="0" i="0" u="none" strike="noStrike" kern="1200" cap="none" spc="0" normalizeH="0" baseline="0" noProof="0" dirty="0">
              <a:ln>
                <a:noFill/>
              </a:ln>
              <a:solidFill>
                <a:srgbClr val="FFFFFF"/>
              </a:solidFill>
              <a:effectLst/>
              <a:uLnTx/>
              <a:uFillTx/>
              <a:latin typeface="Ubuntu Mono" panose="020B0509030602030204" pitchFamily="49" charset="0"/>
              <a:ea typeface="+mn-ea"/>
              <a:cs typeface="+mn-cs"/>
            </a:endParaRPr>
          </a:p>
        </p:txBody>
      </p:sp>
      <p:pic>
        <p:nvPicPr>
          <p:cNvPr id="17" name="Imagen 16" descr="Imagen que contiene dibujo&#10;&#10;Descripción generada automáticamente">
            <a:extLst>
              <a:ext uri="{FF2B5EF4-FFF2-40B4-BE49-F238E27FC236}">
                <a16:creationId xmlns:a16="http://schemas.microsoft.com/office/drawing/2014/main" id="{6D8A24DC-6826-4186-A798-43AC22E9B507}"/>
              </a:ext>
            </a:extLst>
          </p:cNvPr>
          <p:cNvPicPr>
            <a:picLocks noChangeAspect="1"/>
          </p:cNvPicPr>
          <p:nvPr/>
        </p:nvPicPr>
        <p:blipFill>
          <a:blip r:embed="rId5"/>
          <a:stretch>
            <a:fillRect/>
          </a:stretch>
        </p:blipFill>
        <p:spPr>
          <a:xfrm>
            <a:off x="11057936" y="6151764"/>
            <a:ext cx="827094" cy="342607"/>
          </a:xfrm>
          <a:prstGeom prst="rect">
            <a:avLst/>
          </a:prstGeom>
        </p:spPr>
      </p:pic>
      <p:grpSp>
        <p:nvGrpSpPr>
          <p:cNvPr id="7" name="Grupo 6">
            <a:extLst>
              <a:ext uri="{FF2B5EF4-FFF2-40B4-BE49-F238E27FC236}">
                <a16:creationId xmlns:a16="http://schemas.microsoft.com/office/drawing/2014/main" id="{0292D3B1-23CC-47B9-AECA-BC439F300720}"/>
              </a:ext>
            </a:extLst>
          </p:cNvPr>
          <p:cNvGrpSpPr/>
          <p:nvPr/>
        </p:nvGrpSpPr>
        <p:grpSpPr>
          <a:xfrm>
            <a:off x="5582891" y="687221"/>
            <a:ext cx="2781342" cy="1007877"/>
            <a:chOff x="8956490" y="4167821"/>
            <a:chExt cx="2781342" cy="1007877"/>
          </a:xfrm>
        </p:grpSpPr>
        <p:sp>
          <p:nvSpPr>
            <p:cNvPr id="19" name="Title 3">
              <a:extLst>
                <a:ext uri="{FF2B5EF4-FFF2-40B4-BE49-F238E27FC236}">
                  <a16:creationId xmlns:a16="http://schemas.microsoft.com/office/drawing/2014/main" id="{C9735FF3-8917-4899-9C8A-F7FFF82DDC24}"/>
                </a:ext>
              </a:extLst>
            </p:cNvPr>
            <p:cNvSpPr txBox="1">
              <a:spLocks/>
            </p:cNvSpPr>
            <p:nvPr/>
          </p:nvSpPr>
          <p:spPr>
            <a:xfrm>
              <a:off x="9671314" y="4454973"/>
              <a:ext cx="2066518" cy="720725"/>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lang="pt-PT" sz="2600" kern="1200" dirty="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400" b="0" i="0" u="none" strike="noStrike" kern="1200" cap="none" spc="0" normalizeH="0" baseline="0" noProof="0" dirty="0">
                  <a:ln>
                    <a:noFill/>
                  </a:ln>
                  <a:solidFill>
                    <a:srgbClr val="12ABDB"/>
                  </a:solidFill>
                  <a:effectLst/>
                  <a:uLnTx/>
                  <a:uFillTx/>
                  <a:latin typeface="Ubuntu Light" panose="020B0304030602030204" pitchFamily="34" charset="0"/>
                  <a:ea typeface="Verdana" panose="020B0604030504040204" pitchFamily="34" charset="0"/>
                  <a:cs typeface="Verdana" panose="020B0604030504040204" pitchFamily="34" charset="0"/>
                </a:rPr>
                <a:t>At Sogeti, we know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400" b="0" i="0" u="none" strike="noStrike" kern="1200" cap="none" spc="0" normalizeH="0" baseline="0" noProof="0" dirty="0">
                  <a:ln>
                    <a:noFill/>
                  </a:ln>
                  <a:solidFill>
                    <a:srgbClr val="12ABDB"/>
                  </a:solidFill>
                  <a:effectLst/>
                  <a:uLnTx/>
                  <a:uFillTx/>
                  <a:latin typeface="Ubuntu Light" panose="020B0304030602030204" pitchFamily="34" charset="0"/>
                  <a:ea typeface="Verdana" panose="020B0604030504040204" pitchFamily="34" charset="0"/>
                  <a:cs typeface="Verdana" panose="020B0604030504040204" pitchFamily="34" charset="0"/>
                </a:rPr>
                <a:t>how to </a:t>
              </a:r>
              <a:r>
                <a:rPr kumimoji="0" lang="en-GB" sz="1400" b="1" i="0" u="none" strike="noStrike" kern="1200" cap="none" spc="0" normalizeH="0" baseline="0" noProof="0" dirty="0">
                  <a:ln>
                    <a:noFill/>
                  </a:ln>
                  <a:solidFill>
                    <a:srgbClr val="12ABDB"/>
                  </a:solidFill>
                  <a:effectLst/>
                  <a:uLnTx/>
                  <a:uFillTx/>
                  <a:latin typeface="Ubuntu" panose="020B0504030602030204" pitchFamily="34" charset="0"/>
                  <a:ea typeface="Verdana" panose="020B0604030504040204" pitchFamily="34" charset="0"/>
                  <a:cs typeface="Verdana" panose="020B0604030504040204" pitchFamily="34" charset="0"/>
                </a:rPr>
                <a:t>get the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400" b="1" i="0" u="none" strike="noStrike" kern="1200" cap="none" spc="0" normalizeH="0" baseline="0" noProof="0" dirty="0">
                  <a:ln>
                    <a:noFill/>
                  </a:ln>
                  <a:solidFill>
                    <a:srgbClr val="12ABDB"/>
                  </a:solidFill>
                  <a:effectLst/>
                  <a:uLnTx/>
                  <a:uFillTx/>
                  <a:latin typeface="Ubuntu" panose="020B0504030602030204" pitchFamily="34" charset="0"/>
                  <a:ea typeface="Verdana" panose="020B0604030504040204" pitchFamily="34" charset="0"/>
                  <a:cs typeface="Verdana" panose="020B0604030504040204" pitchFamily="34" charset="0"/>
                </a:rPr>
                <a:t>best value from technology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400" b="0" i="0" u="none" strike="noStrike" kern="1200" cap="none" spc="0" normalizeH="0" baseline="0" noProof="0" dirty="0">
                  <a:ln>
                    <a:noFill/>
                  </a:ln>
                  <a:solidFill>
                    <a:srgbClr val="0070AD"/>
                  </a:solidFill>
                  <a:effectLst/>
                  <a:uLnTx/>
                  <a:uFillTx/>
                  <a:latin typeface="Ubuntu Light" panose="020B0304030602030204" pitchFamily="34" charset="0"/>
                  <a:ea typeface="Verdana" panose="020B0604030504040204" pitchFamily="34" charset="0"/>
                  <a:cs typeface="Verdana" panose="020B0604030504040204" pitchFamily="34" charset="0"/>
                </a:rPr>
                <a:t>– it’s our passion.</a:t>
              </a:r>
            </a:p>
          </p:txBody>
        </p:sp>
        <p:pic>
          <p:nvPicPr>
            <p:cNvPr id="13" name="Graphic 16">
              <a:extLst>
                <a:ext uri="{FF2B5EF4-FFF2-40B4-BE49-F238E27FC236}">
                  <a16:creationId xmlns:a16="http://schemas.microsoft.com/office/drawing/2014/main" id="{C03DA837-CE89-4A5A-949B-227014C2DAB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956490" y="4167821"/>
              <a:ext cx="433558" cy="540540"/>
            </a:xfrm>
            <a:prstGeom prst="rect">
              <a:avLst/>
            </a:prstGeom>
          </p:spPr>
        </p:pic>
      </p:grpSp>
      <p:pic>
        <p:nvPicPr>
          <p:cNvPr id="30" name="Graphic 9">
            <a:extLst>
              <a:ext uri="{FF2B5EF4-FFF2-40B4-BE49-F238E27FC236}">
                <a16:creationId xmlns:a16="http://schemas.microsoft.com/office/drawing/2014/main" id="{1DE7918C-2C6D-4BFF-A890-AC742FA6EFB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382406" y="363629"/>
            <a:ext cx="1376764" cy="716164"/>
          </a:xfrm>
          <a:prstGeom prst="rect">
            <a:avLst/>
          </a:prstGeom>
        </p:spPr>
      </p:pic>
      <p:grpSp>
        <p:nvGrpSpPr>
          <p:cNvPr id="4" name="Grupo 3">
            <a:extLst>
              <a:ext uri="{FF2B5EF4-FFF2-40B4-BE49-F238E27FC236}">
                <a16:creationId xmlns:a16="http://schemas.microsoft.com/office/drawing/2014/main" id="{B36B2EDC-65ED-462B-9F3A-A87B8CBDA098}"/>
              </a:ext>
            </a:extLst>
          </p:cNvPr>
          <p:cNvGrpSpPr/>
          <p:nvPr/>
        </p:nvGrpSpPr>
        <p:grpSpPr>
          <a:xfrm>
            <a:off x="-23305" y="2580569"/>
            <a:ext cx="9473738" cy="3453885"/>
            <a:chOff x="-456498" y="444685"/>
            <a:chExt cx="9473738" cy="3453885"/>
          </a:xfrm>
        </p:grpSpPr>
        <p:grpSp>
          <p:nvGrpSpPr>
            <p:cNvPr id="3" name="Grupo 2">
              <a:extLst>
                <a:ext uri="{FF2B5EF4-FFF2-40B4-BE49-F238E27FC236}">
                  <a16:creationId xmlns:a16="http://schemas.microsoft.com/office/drawing/2014/main" id="{D00B0F33-B041-47D7-B591-7194BC6E7B9C}"/>
                </a:ext>
              </a:extLst>
            </p:cNvPr>
            <p:cNvGrpSpPr/>
            <p:nvPr/>
          </p:nvGrpSpPr>
          <p:grpSpPr>
            <a:xfrm>
              <a:off x="778116" y="533590"/>
              <a:ext cx="8239124" cy="3364980"/>
              <a:chOff x="778116" y="533590"/>
              <a:chExt cx="8239124" cy="3364980"/>
            </a:xfrm>
          </p:grpSpPr>
          <p:sp>
            <p:nvSpPr>
              <p:cNvPr id="12" name="CuadroTexto 11">
                <a:extLst>
                  <a:ext uri="{FF2B5EF4-FFF2-40B4-BE49-F238E27FC236}">
                    <a16:creationId xmlns:a16="http://schemas.microsoft.com/office/drawing/2014/main" id="{4553E269-7A6D-4CEA-86E7-9E99CF3DCC6C}"/>
                  </a:ext>
                </a:extLst>
              </p:cNvPr>
              <p:cNvSpPr txBox="1"/>
              <p:nvPr/>
            </p:nvSpPr>
            <p:spPr>
              <a:xfrm>
                <a:off x="778116" y="905687"/>
                <a:ext cx="5953925" cy="160043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4800" b="1" i="0" u="none" strike="noStrike" kern="1200" cap="none" spc="0" normalizeH="0" baseline="0" noProof="0" dirty="0">
                    <a:ln>
                      <a:noFill/>
                    </a:ln>
                    <a:solidFill>
                      <a:schemeClr val="accent4"/>
                    </a:solidFill>
                    <a:effectLst/>
                    <a:uLnTx/>
                    <a:uFillTx/>
                    <a:latin typeface="Ubuntu" panose="020B0504030602030204" pitchFamily="34" charset="0"/>
                    <a:ea typeface="+mn-ea"/>
                    <a:cs typeface="+mn-cs"/>
                  </a:rPr>
                  <a:t>SmartQ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95E616"/>
                  </a:solidFill>
                  <a:effectLst/>
                  <a:uLnTx/>
                  <a:uFillTx/>
                  <a:latin typeface="Ubuntu" panose="020B05040306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1" i="0" u="none" strike="noStrike" kern="1200" cap="none" spc="0" normalizeH="0" baseline="0" noProof="0" dirty="0">
                  <a:ln>
                    <a:noFill/>
                  </a:ln>
                  <a:solidFill>
                    <a:srgbClr val="95E616"/>
                  </a:solidFill>
                  <a:effectLst/>
                  <a:uLnTx/>
                  <a:uFillTx/>
                  <a:latin typeface="Ubuntu" panose="020B0504030602030204" pitchFamily="34" charset="0"/>
                  <a:ea typeface="+mn-ea"/>
                  <a:cs typeface="+mn-cs"/>
                </a:endParaRPr>
              </a:p>
            </p:txBody>
          </p:sp>
          <p:sp>
            <p:nvSpPr>
              <p:cNvPr id="51" name="CuadroTexto 50">
                <a:extLst>
                  <a:ext uri="{FF2B5EF4-FFF2-40B4-BE49-F238E27FC236}">
                    <a16:creationId xmlns:a16="http://schemas.microsoft.com/office/drawing/2014/main" id="{C9A25545-856E-4495-90E6-35FC948C8219}"/>
                  </a:ext>
                </a:extLst>
              </p:cNvPr>
              <p:cNvSpPr txBox="1"/>
              <p:nvPr/>
            </p:nvSpPr>
            <p:spPr>
              <a:xfrm>
                <a:off x="784466" y="533590"/>
                <a:ext cx="8232774"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400" b="0" i="0" u="none" strike="noStrike" kern="1200" cap="none" spc="0" normalizeH="0" baseline="0" noProof="0" dirty="0">
                    <a:ln>
                      <a:noFill/>
                    </a:ln>
                    <a:solidFill>
                      <a:srgbClr val="FF304C"/>
                    </a:solidFill>
                    <a:effectLst/>
                    <a:uLnTx/>
                    <a:uFillTx/>
                    <a:latin typeface="Ubuntu" panose="020B0504030602030204" pitchFamily="34" charset="0"/>
                    <a:ea typeface="+mn-ea"/>
                    <a:cs typeface="+mn-cs"/>
                  </a:rPr>
                  <a:t>#</a:t>
                </a:r>
                <a:r>
                  <a:rPr kumimoji="0" lang="es-ES" sz="2400" b="0" i="0" u="none" strike="noStrike" kern="1200" cap="none" spc="0" normalizeH="0" baseline="0" noProof="0" dirty="0">
                    <a:ln>
                      <a:noFill/>
                    </a:ln>
                    <a:solidFill>
                      <a:srgbClr val="12ABDB"/>
                    </a:solidFill>
                    <a:effectLst/>
                    <a:uLnTx/>
                    <a:uFillTx/>
                    <a:latin typeface="Ubuntu" panose="020B0504030602030204" pitchFamily="34" charset="0"/>
                    <a:ea typeface="+mn-ea"/>
                    <a:cs typeface="+mn-cs"/>
                  </a:rPr>
                  <a:t>AccelerateWithSogeti</a:t>
                </a:r>
              </a:p>
            </p:txBody>
          </p:sp>
          <p:pic>
            <p:nvPicPr>
              <p:cNvPr id="70" name="Imagen 69" descr="Interfaz de usuario gráfica&#10;&#10;Descripción generada automáticamente">
                <a:extLst>
                  <a:ext uri="{FF2B5EF4-FFF2-40B4-BE49-F238E27FC236}">
                    <a16:creationId xmlns:a16="http://schemas.microsoft.com/office/drawing/2014/main" id="{AD12258F-AD8B-4660-8D66-881567B920AC}"/>
                  </a:ext>
                </a:extLst>
              </p:cNvPr>
              <p:cNvPicPr>
                <a:picLocks noChangeAspect="1"/>
              </p:cNvPicPr>
              <p:nvPr/>
            </p:nvPicPr>
            <p:blipFill rotWithShape="1">
              <a:blip r:embed="rId10"/>
              <a:srcRect l="11495" t="32160" r="30968" b="30630"/>
              <a:stretch/>
            </p:blipFill>
            <p:spPr>
              <a:xfrm flipH="1">
                <a:off x="5138934" y="2840794"/>
                <a:ext cx="2290956" cy="1057776"/>
              </a:xfrm>
              <a:prstGeom prst="rect">
                <a:avLst/>
              </a:prstGeom>
            </p:spPr>
          </p:pic>
        </p:grpSp>
        <p:pic>
          <p:nvPicPr>
            <p:cNvPr id="125" name="Imagen 124" descr="Imagen en blanco y negro&#10;&#10;Descripción generada automáticamente con confianza baja">
              <a:extLst>
                <a:ext uri="{FF2B5EF4-FFF2-40B4-BE49-F238E27FC236}">
                  <a16:creationId xmlns:a16="http://schemas.microsoft.com/office/drawing/2014/main" id="{8E42B9EC-FD2B-4BEB-AD2A-0D382C1877BF}"/>
                </a:ext>
              </a:extLst>
            </p:cNvPr>
            <p:cNvPicPr>
              <a:picLocks noChangeAspect="1"/>
            </p:cNvPicPr>
            <p:nvPr/>
          </p:nvPicPr>
          <p:blipFill>
            <a:blip r:embed="rId11"/>
            <a:stretch>
              <a:fillRect/>
            </a:stretch>
          </p:blipFill>
          <p:spPr>
            <a:xfrm>
              <a:off x="-456498" y="444685"/>
              <a:ext cx="1468332" cy="1467711"/>
            </a:xfrm>
            <a:prstGeom prst="rect">
              <a:avLst/>
            </a:prstGeom>
          </p:spPr>
        </p:pic>
      </p:grpSp>
      <p:sp>
        <p:nvSpPr>
          <p:cNvPr id="129" name="Rectángulo 128">
            <a:extLst>
              <a:ext uri="{FF2B5EF4-FFF2-40B4-BE49-F238E27FC236}">
                <a16:creationId xmlns:a16="http://schemas.microsoft.com/office/drawing/2014/main" id="{394C123A-273C-4465-9779-5CB0A823A609}"/>
              </a:ext>
            </a:extLst>
          </p:cNvPr>
          <p:cNvSpPr/>
          <p:nvPr/>
        </p:nvSpPr>
        <p:spPr>
          <a:xfrm>
            <a:off x="7506449" y="5607157"/>
            <a:ext cx="2266198" cy="461665"/>
          </a:xfrm>
          <a:prstGeom prst="rect">
            <a:avLst/>
          </a:prstGeom>
          <a:noFill/>
        </p:spPr>
        <p:txBody>
          <a:bodyPr wrap="none" lIns="91440" tIns="45720" rIns="91440" bIns="45720">
            <a:spAutoFit/>
            <a:scene3d>
              <a:camera prst="isometricTopUp"/>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400" b="0" i="0" u="none" strike="noStrike" kern="1200" cap="none" spc="0" normalizeH="0" baseline="0" noProof="0" dirty="0">
                <a:ln w="0"/>
                <a:solidFill>
                  <a:srgbClr val="FF304C"/>
                </a:solidFill>
                <a:effectLst/>
                <a:uLnTx/>
                <a:uFillTx/>
                <a:latin typeface="Ubuntu Mono" panose="020B0509030602030204" pitchFamily="49" charset="0"/>
                <a:ea typeface="+mn-ea"/>
                <a:cs typeface="+mn-cs"/>
              </a:rPr>
              <a:t>THINKUBATOR</a:t>
            </a:r>
          </a:p>
        </p:txBody>
      </p:sp>
      <p:sp>
        <p:nvSpPr>
          <p:cNvPr id="130" name="Rectángulo 129">
            <a:extLst>
              <a:ext uri="{FF2B5EF4-FFF2-40B4-BE49-F238E27FC236}">
                <a16:creationId xmlns:a16="http://schemas.microsoft.com/office/drawing/2014/main" id="{80CFBFBA-E938-431F-93D0-7AA31AC07A75}"/>
              </a:ext>
            </a:extLst>
          </p:cNvPr>
          <p:cNvSpPr/>
          <p:nvPr/>
        </p:nvSpPr>
        <p:spPr>
          <a:xfrm>
            <a:off x="9738735" y="5555875"/>
            <a:ext cx="1732748" cy="338554"/>
          </a:xfrm>
          <a:prstGeom prst="rect">
            <a:avLst/>
          </a:prstGeom>
          <a:noFill/>
        </p:spPr>
        <p:txBody>
          <a:bodyPr wrap="square" lIns="91440" tIns="45720" rIns="91440" bIns="45720">
            <a:spAutoFit/>
            <a:scene3d>
              <a:camera prst="isometricTopUp"/>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a:ln w="0"/>
                <a:solidFill>
                  <a:srgbClr val="12ABDB"/>
                </a:solidFill>
                <a:effectLst/>
                <a:uLnTx/>
                <a:uFillTx/>
                <a:latin typeface="Ubuntu" panose="020B0504030602030204" pitchFamily="34" charset="0"/>
                <a:ea typeface="+mn-ea"/>
                <a:cs typeface="+mn-cs"/>
              </a:rPr>
              <a:t>SOGETI SPAIN</a:t>
            </a:r>
          </a:p>
        </p:txBody>
      </p:sp>
      <p:pic>
        <p:nvPicPr>
          <p:cNvPr id="22" name="Imagen 21" descr="Imagen que contiene tabla, lego, juguete, caja&#10;&#10;Descripción generada automáticamente">
            <a:extLst>
              <a:ext uri="{FF2B5EF4-FFF2-40B4-BE49-F238E27FC236}">
                <a16:creationId xmlns:a16="http://schemas.microsoft.com/office/drawing/2014/main" id="{122DCF6B-9DFF-48D7-B8E3-9FB12CD46363}"/>
              </a:ext>
            </a:extLst>
          </p:cNvPr>
          <p:cNvPicPr>
            <a:picLocks noChangeAspect="1"/>
          </p:cNvPicPr>
          <p:nvPr/>
        </p:nvPicPr>
        <p:blipFill>
          <a:blip r:embed="rId12"/>
          <a:stretch>
            <a:fillRect/>
          </a:stretch>
        </p:blipFill>
        <p:spPr>
          <a:xfrm>
            <a:off x="7305027" y="615603"/>
            <a:ext cx="4790399" cy="4788372"/>
          </a:xfrm>
          <a:prstGeom prst="rect">
            <a:avLst/>
          </a:prstGeom>
        </p:spPr>
      </p:pic>
      <p:pic>
        <p:nvPicPr>
          <p:cNvPr id="45058" name="Picture 2">
            <a:extLst>
              <a:ext uri="{FF2B5EF4-FFF2-40B4-BE49-F238E27FC236}">
                <a16:creationId xmlns:a16="http://schemas.microsoft.com/office/drawing/2014/main" id="{60F9755A-3BA1-4BC2-8A66-DEB715730CF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515168" y="1315843"/>
            <a:ext cx="1178055" cy="11780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91115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Marcador de posición de imagen 24">
            <a:extLst>
              <a:ext uri="{FF2B5EF4-FFF2-40B4-BE49-F238E27FC236}">
                <a16:creationId xmlns:a16="http://schemas.microsoft.com/office/drawing/2014/main" id="{38EB7709-ED6A-FB4F-A4FD-82348E993450}"/>
              </a:ext>
            </a:extLst>
          </p:cNvPr>
          <p:cNvPicPr>
            <a:picLocks noGrp="1" noChangeAspect="1"/>
          </p:cNvPicPr>
          <p:nvPr>
            <p:ph type="pic" sz="quarter" idx="11"/>
          </p:nvPr>
        </p:nvPicPr>
        <p:blipFill rotWithShape="1">
          <a:blip r:embed="rId2" cstate="hqprint">
            <a:extLst>
              <a:ext uri="{28A0092B-C50C-407E-A947-70E740481C1C}">
                <a14:useLocalDpi xmlns:a14="http://schemas.microsoft.com/office/drawing/2010/main"/>
              </a:ext>
            </a:extLst>
          </a:blip>
          <a:srcRect l="15865" r="15865"/>
          <a:stretch/>
        </p:blipFill>
        <p:spPr>
          <a:prstGeom prst="rect">
            <a:avLst/>
          </a:prstGeom>
          <a:ln>
            <a:noFill/>
          </a:ln>
          <a:effectLst/>
        </p:spPr>
      </p:pic>
      <p:sp>
        <p:nvSpPr>
          <p:cNvPr id="105" name="Title 1">
            <a:extLst>
              <a:ext uri="{FF2B5EF4-FFF2-40B4-BE49-F238E27FC236}">
                <a16:creationId xmlns:a16="http://schemas.microsoft.com/office/drawing/2014/main" id="{C29BCF16-F13D-A34C-9ED2-DD8F24441065}"/>
              </a:ext>
            </a:extLst>
          </p:cNvPr>
          <p:cNvSpPr txBox="1">
            <a:spLocks/>
          </p:cNvSpPr>
          <p:nvPr/>
        </p:nvSpPr>
        <p:spPr>
          <a:xfrm>
            <a:off x="5214554" y="1508018"/>
            <a:ext cx="3633392" cy="937663"/>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ES_tradnl" sz="1800" b="1" i="0" u="none" strike="noStrike" kern="1200" cap="none" spc="0" normalizeH="0" baseline="0" dirty="0">
                <a:ln>
                  <a:noFill/>
                </a:ln>
                <a:solidFill>
                  <a:srgbClr val="2B0A3D"/>
                </a:solidFill>
                <a:effectLst/>
                <a:uLnTx/>
                <a:uFillTx/>
                <a:latin typeface="Ubuntu" panose="020B0504030602030204" pitchFamily="34" charset="0"/>
                <a:ea typeface="+mj-ea"/>
                <a:cs typeface="+mj-cs"/>
              </a:rPr>
              <a:t>Modelo de ana</a:t>
            </a:r>
            <a:r>
              <a:rPr lang="es-ES_tradnl" sz="1800" b="1" dirty="0">
                <a:solidFill>
                  <a:srgbClr val="2B0A3D"/>
                </a:solidFill>
              </a:rPr>
              <a:t>lítica avanzada para el análisis y predicción de los riesgos por área funcional</a:t>
            </a:r>
            <a:endParaRPr kumimoji="0" lang="es-ES_tradnl" sz="1800" b="1" i="0" u="none" strike="noStrike" kern="1200" cap="none" spc="0" normalizeH="0" baseline="0" dirty="0">
              <a:ln>
                <a:noFill/>
              </a:ln>
              <a:solidFill>
                <a:srgbClr val="2B0A3D"/>
              </a:solidFill>
              <a:effectLst/>
              <a:uLnTx/>
              <a:uFillTx/>
              <a:latin typeface="Ubuntu" panose="020B0504030602030204" pitchFamily="34" charset="0"/>
              <a:ea typeface="+mj-ea"/>
              <a:cs typeface="+mj-cs"/>
            </a:endParaRPr>
          </a:p>
        </p:txBody>
      </p:sp>
      <p:pic>
        <p:nvPicPr>
          <p:cNvPr id="106" name="Picture 102957">
            <a:extLst>
              <a:ext uri="{FF2B5EF4-FFF2-40B4-BE49-F238E27FC236}">
                <a16:creationId xmlns:a16="http://schemas.microsoft.com/office/drawing/2014/main" id="{D11F1EFA-806C-874C-9927-ADD643ACBE1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3601824" y="1107256"/>
            <a:ext cx="1868076" cy="1560154"/>
          </a:xfrm>
          <a:prstGeom prst="rect">
            <a:avLst/>
          </a:prstGeom>
        </p:spPr>
      </p:pic>
      <p:sp>
        <p:nvSpPr>
          <p:cNvPr id="110" name="Title 1">
            <a:extLst>
              <a:ext uri="{FF2B5EF4-FFF2-40B4-BE49-F238E27FC236}">
                <a16:creationId xmlns:a16="http://schemas.microsoft.com/office/drawing/2014/main" id="{FA0F6FD1-0ADF-D446-9B77-8460A9C6E81C}"/>
              </a:ext>
            </a:extLst>
          </p:cNvPr>
          <p:cNvSpPr txBox="1">
            <a:spLocks/>
          </p:cNvSpPr>
          <p:nvPr/>
        </p:nvSpPr>
        <p:spPr>
          <a:xfrm>
            <a:off x="5885864" y="2512284"/>
            <a:ext cx="2861459" cy="1502618"/>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lvl="0"/>
            <a:r>
              <a:rPr lang="es-ES_tradnl" sz="1100" dirty="0">
                <a:solidFill>
                  <a:srgbClr val="2B0A3D"/>
                </a:solidFill>
                <a:latin typeface="Ubuntu"/>
              </a:rPr>
              <a:t>Modelo de analítica avanzada desarrollado por </a:t>
            </a:r>
            <a:r>
              <a:rPr lang="es-ES_tradnl" sz="1100" dirty="0" err="1">
                <a:solidFill>
                  <a:srgbClr val="2B0A3D"/>
                </a:solidFill>
                <a:latin typeface="Ubuntu"/>
              </a:rPr>
              <a:t>SogetiLabs</a:t>
            </a:r>
            <a:r>
              <a:rPr lang="es-ES_tradnl" sz="1100" dirty="0">
                <a:solidFill>
                  <a:srgbClr val="2B0A3D"/>
                </a:solidFill>
                <a:latin typeface="Ubuntu"/>
              </a:rPr>
              <a:t> y adaptable al contexto del cliente, con el fin de calcular el riesgo por área funcional basado en los defectos actuales, defectos históricos, casos de prueba ejecutados y, opcionalmente, los </a:t>
            </a:r>
            <a:r>
              <a:rPr lang="es-ES_tradnl" sz="1100" dirty="0" err="1">
                <a:solidFill>
                  <a:srgbClr val="2B0A3D"/>
                </a:solidFill>
                <a:latin typeface="Ubuntu"/>
              </a:rPr>
              <a:t>commits</a:t>
            </a:r>
            <a:r>
              <a:rPr lang="es-ES_tradnl" sz="1100" dirty="0">
                <a:solidFill>
                  <a:srgbClr val="2B0A3D"/>
                </a:solidFill>
                <a:latin typeface="Ubuntu"/>
              </a:rPr>
              <a:t> de desarrollo.</a:t>
            </a:r>
            <a:endParaRPr kumimoji="0" lang="es-ES_tradnl" sz="1100" b="0" i="0" u="none" strike="noStrike" kern="1200" cap="none" spc="0" normalizeH="0" baseline="0" dirty="0">
              <a:ln>
                <a:noFill/>
              </a:ln>
              <a:solidFill>
                <a:srgbClr val="2B0A3D"/>
              </a:solidFill>
              <a:effectLst/>
              <a:uLnTx/>
              <a:uFillTx/>
              <a:latin typeface="Ubuntu"/>
              <a:ea typeface="+mj-ea"/>
              <a:cs typeface="+mj-cs"/>
            </a:endParaRPr>
          </a:p>
        </p:txBody>
      </p:sp>
      <p:sp>
        <p:nvSpPr>
          <p:cNvPr id="134" name="Title 1">
            <a:extLst>
              <a:ext uri="{FF2B5EF4-FFF2-40B4-BE49-F238E27FC236}">
                <a16:creationId xmlns:a16="http://schemas.microsoft.com/office/drawing/2014/main" id="{C8B1C3C0-2E22-3047-9432-F7C45CCF111E}"/>
              </a:ext>
            </a:extLst>
          </p:cNvPr>
          <p:cNvSpPr txBox="1">
            <a:spLocks/>
          </p:cNvSpPr>
          <p:nvPr/>
        </p:nvSpPr>
        <p:spPr>
          <a:xfrm>
            <a:off x="442428" y="2109840"/>
            <a:ext cx="2977720" cy="944253"/>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L="171450" marR="0" lvl="0" indent="-171450" algn="l" defTabSz="914400" rtl="0" eaLnBrk="1" fontAlgn="auto" latinLnBrk="0" hangingPunct="1">
              <a:lnSpc>
                <a:spcPct val="100000"/>
              </a:lnSpc>
              <a:spcBef>
                <a:spcPct val="0"/>
              </a:spcBef>
              <a:spcAft>
                <a:spcPts val="0"/>
              </a:spcAft>
              <a:buClrTx/>
              <a:buSzTx/>
              <a:buFont typeface="Wingdings" pitchFamily="2" charset="2"/>
              <a:buChar char="§"/>
              <a:tabLst/>
              <a:defRPr/>
            </a:pPr>
            <a:endParaRPr kumimoji="0" lang="en-US" sz="1200" b="0" i="0" u="none" strike="noStrike" kern="1200" cap="none" spc="0" normalizeH="0" baseline="0" noProof="0">
              <a:ln>
                <a:noFill/>
              </a:ln>
              <a:solidFill>
                <a:srgbClr val="FFFFFF"/>
              </a:solidFill>
              <a:effectLst/>
              <a:uLnTx/>
              <a:uFillTx/>
              <a:latin typeface="Ubuntu Light" panose="020B0304030602030204" pitchFamily="34" charset="0"/>
              <a:ea typeface="+mj-ea"/>
              <a:cs typeface="+mj-cs"/>
            </a:endParaRPr>
          </a:p>
        </p:txBody>
      </p:sp>
      <p:sp>
        <p:nvSpPr>
          <p:cNvPr id="135" name="Title 1">
            <a:extLst>
              <a:ext uri="{FF2B5EF4-FFF2-40B4-BE49-F238E27FC236}">
                <a16:creationId xmlns:a16="http://schemas.microsoft.com/office/drawing/2014/main" id="{607DF644-DB64-CC44-97D6-69D5A0F708B6}"/>
              </a:ext>
            </a:extLst>
          </p:cNvPr>
          <p:cNvSpPr txBox="1">
            <a:spLocks/>
          </p:cNvSpPr>
          <p:nvPr/>
        </p:nvSpPr>
        <p:spPr>
          <a:xfrm>
            <a:off x="454694" y="2981209"/>
            <a:ext cx="2989985" cy="944253"/>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L="171450" marR="0" lvl="0" indent="-171450" algn="l" defTabSz="914400" rtl="0" eaLnBrk="1" fontAlgn="auto" latinLnBrk="0" hangingPunct="1">
              <a:lnSpc>
                <a:spcPct val="100000"/>
              </a:lnSpc>
              <a:spcBef>
                <a:spcPct val="0"/>
              </a:spcBef>
              <a:spcAft>
                <a:spcPts val="0"/>
              </a:spcAft>
              <a:buClrTx/>
              <a:buSzTx/>
              <a:buFont typeface="Wingdings" pitchFamily="2" charset="2"/>
              <a:buChar char="§"/>
              <a:tabLst/>
              <a:defRPr/>
            </a:pPr>
            <a:endParaRPr kumimoji="0" lang="en-US" sz="1200" b="0" i="0" u="none" strike="noStrike" kern="1200" cap="none" spc="0" normalizeH="0" baseline="0" noProof="0">
              <a:ln>
                <a:noFill/>
              </a:ln>
              <a:solidFill>
                <a:srgbClr val="FFFFFF"/>
              </a:solidFill>
              <a:effectLst/>
              <a:uLnTx/>
              <a:uFillTx/>
              <a:latin typeface="Ubuntu Light" panose="020B0304030602030204" pitchFamily="34" charset="0"/>
              <a:ea typeface="+mj-ea"/>
              <a:cs typeface="+mj-cs"/>
            </a:endParaRPr>
          </a:p>
        </p:txBody>
      </p:sp>
      <p:sp>
        <p:nvSpPr>
          <p:cNvPr id="136" name="Title 1">
            <a:extLst>
              <a:ext uri="{FF2B5EF4-FFF2-40B4-BE49-F238E27FC236}">
                <a16:creationId xmlns:a16="http://schemas.microsoft.com/office/drawing/2014/main" id="{DB826FFD-A232-904E-9873-C7C004F36047}"/>
              </a:ext>
            </a:extLst>
          </p:cNvPr>
          <p:cNvSpPr txBox="1">
            <a:spLocks/>
          </p:cNvSpPr>
          <p:nvPr/>
        </p:nvSpPr>
        <p:spPr>
          <a:xfrm>
            <a:off x="696021" y="3901765"/>
            <a:ext cx="3973677" cy="2413336"/>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R="0" lvl="0" algn="l" defTabSz="914400" rtl="0" eaLnBrk="1" fontAlgn="auto" latinLnBrk="0" hangingPunct="1">
              <a:lnSpc>
                <a:spcPct val="100000"/>
              </a:lnSpc>
              <a:spcBef>
                <a:spcPct val="0"/>
              </a:spcBef>
              <a:spcAft>
                <a:spcPts val="0"/>
              </a:spcAft>
              <a:buClrTx/>
              <a:buSzTx/>
              <a:tabLst/>
              <a:defRPr/>
            </a:pPr>
            <a:r>
              <a:rPr kumimoji="0" lang="es-ES_tradnl" sz="1600" i="0" u="none" strike="noStrike" kern="1200" cap="none" spc="0" normalizeH="0" baseline="0" dirty="0">
                <a:ln>
                  <a:noFill/>
                </a:ln>
                <a:solidFill>
                  <a:srgbClr val="2B0A3D"/>
                </a:solidFill>
                <a:effectLst/>
                <a:uLnTx/>
                <a:uFillTx/>
                <a:latin typeface="Ubuntu"/>
                <a:ea typeface="+mj-ea"/>
                <a:cs typeface="+mj-cs"/>
              </a:rPr>
              <a:t>Implementación de un </a:t>
            </a:r>
            <a:r>
              <a:rPr kumimoji="0" lang="es-ES_tradnl" sz="1600" b="1" i="0" u="none" strike="noStrike" kern="1200" cap="none" spc="0" normalizeH="0" baseline="0" dirty="0">
                <a:ln>
                  <a:noFill/>
                </a:ln>
                <a:solidFill>
                  <a:srgbClr val="2B0A3D"/>
                </a:solidFill>
                <a:effectLst/>
                <a:uLnTx/>
                <a:uFillTx/>
                <a:latin typeface="Ubuntu"/>
                <a:ea typeface="+mj-ea"/>
                <a:cs typeface="+mj-cs"/>
              </a:rPr>
              <a:t>modelo de estimación de los riesgos, por área funcional, </a:t>
            </a:r>
            <a:r>
              <a:rPr kumimoji="0" lang="es-ES_tradnl" sz="1600" i="0" u="none" strike="noStrike" kern="1200" cap="none" spc="0" normalizeH="0" baseline="0" dirty="0">
                <a:ln>
                  <a:noFill/>
                </a:ln>
                <a:solidFill>
                  <a:srgbClr val="2B0A3D"/>
                </a:solidFill>
                <a:effectLst/>
                <a:uLnTx/>
                <a:uFillTx/>
                <a:latin typeface="Ubuntu"/>
                <a:ea typeface="+mj-ea"/>
                <a:cs typeface="+mj-cs"/>
              </a:rPr>
              <a:t>con el fin de analizar visualmente el estado de riesgos de un proyecto en términos de calidad, así como la </a:t>
            </a:r>
            <a:r>
              <a:rPr kumimoji="0" lang="es-ES_tradnl" sz="1600" b="1" i="0" u="none" strike="noStrike" kern="1200" cap="none" spc="0" normalizeH="0" baseline="0" dirty="0">
                <a:ln>
                  <a:noFill/>
                </a:ln>
                <a:solidFill>
                  <a:srgbClr val="2B0A3D"/>
                </a:solidFill>
                <a:effectLst/>
                <a:uLnTx/>
                <a:uFillTx/>
                <a:latin typeface="Ubuntu"/>
                <a:ea typeface="+mj-ea"/>
                <a:cs typeface="+mj-cs"/>
              </a:rPr>
              <a:t>predicción de riesgos en próximas iteraciones</a:t>
            </a:r>
            <a:r>
              <a:rPr kumimoji="0" lang="es-ES_tradnl" sz="1600" i="0" u="none" strike="noStrike" kern="1200" cap="none" spc="0" normalizeH="0" baseline="0" dirty="0">
                <a:ln>
                  <a:noFill/>
                </a:ln>
                <a:solidFill>
                  <a:srgbClr val="2B0A3D"/>
                </a:solidFill>
                <a:effectLst/>
                <a:uLnTx/>
                <a:uFillTx/>
                <a:latin typeface="Ubuntu"/>
                <a:ea typeface="+mj-ea"/>
                <a:cs typeface="+mj-cs"/>
              </a:rPr>
              <a:t>.</a:t>
            </a:r>
            <a:endParaRPr kumimoji="0" lang="es-ES_tradnl" sz="1600" b="1" i="0" u="none" strike="noStrike" kern="1200" cap="none" spc="0" normalizeH="0" baseline="0" dirty="0">
              <a:ln>
                <a:noFill/>
              </a:ln>
              <a:solidFill>
                <a:srgbClr val="2B0A3D"/>
              </a:solidFill>
              <a:effectLst/>
              <a:uLnTx/>
              <a:uFillTx/>
              <a:latin typeface="Ubuntu"/>
              <a:ea typeface="+mj-ea"/>
              <a:cs typeface="+mj-cs"/>
            </a:endParaRPr>
          </a:p>
          <a:p>
            <a:pPr marR="0" lvl="0" algn="l" defTabSz="914400" rtl="0" eaLnBrk="1" fontAlgn="auto" latinLnBrk="0" hangingPunct="1">
              <a:lnSpc>
                <a:spcPct val="100000"/>
              </a:lnSpc>
              <a:spcBef>
                <a:spcPct val="0"/>
              </a:spcBef>
              <a:spcAft>
                <a:spcPts val="0"/>
              </a:spcAft>
              <a:buClrTx/>
              <a:buSzTx/>
              <a:tabLst/>
              <a:defRPr/>
            </a:pPr>
            <a:endParaRPr lang="es-ES_tradnl" sz="1200" b="1" dirty="0">
              <a:solidFill>
                <a:srgbClr val="2B0A3D"/>
              </a:solidFill>
              <a:latin typeface="Ubuntu"/>
            </a:endParaRPr>
          </a:p>
          <a:p>
            <a:pPr marL="171450" marR="0" lvl="0" indent="-171450" algn="l" defTabSz="914400" rtl="0" eaLnBrk="1" fontAlgn="auto" latinLnBrk="0" hangingPunct="1">
              <a:lnSpc>
                <a:spcPct val="100000"/>
              </a:lnSpc>
              <a:spcBef>
                <a:spcPct val="0"/>
              </a:spcBef>
              <a:spcAft>
                <a:spcPts val="0"/>
              </a:spcAft>
              <a:buClrTx/>
              <a:buSzTx/>
              <a:buFont typeface="Wingdings" pitchFamily="2" charset="2"/>
              <a:buChar char="§"/>
              <a:tabLst/>
              <a:defRPr/>
            </a:pPr>
            <a:endParaRPr kumimoji="0" lang="ca-ES" sz="1000" b="0" i="0" u="none" strike="noStrike" kern="1200" cap="none" spc="0" normalizeH="0" baseline="0" dirty="0">
              <a:ln>
                <a:noFill/>
              </a:ln>
              <a:solidFill>
                <a:srgbClr val="2B0A3D"/>
              </a:solidFill>
              <a:effectLst/>
              <a:uLnTx/>
              <a:uFillTx/>
              <a:latin typeface="Ubuntu Light" panose="020B0304030602030204" pitchFamily="34" charset="0"/>
              <a:ea typeface="+mj-ea"/>
              <a:cs typeface="+mj-cs"/>
            </a:endParaRPr>
          </a:p>
          <a:p>
            <a:pPr marL="171450" marR="0" lvl="0" indent="-171450" algn="l" defTabSz="914400" rtl="0" eaLnBrk="1" fontAlgn="auto" latinLnBrk="0" hangingPunct="1">
              <a:lnSpc>
                <a:spcPct val="100000"/>
              </a:lnSpc>
              <a:spcBef>
                <a:spcPct val="0"/>
              </a:spcBef>
              <a:spcAft>
                <a:spcPts val="0"/>
              </a:spcAft>
              <a:buClrTx/>
              <a:buSzTx/>
              <a:buFont typeface="Wingdings" pitchFamily="2" charset="2"/>
              <a:buChar char="§"/>
              <a:tabLst/>
              <a:defRPr/>
            </a:pPr>
            <a:endParaRPr kumimoji="0" lang="ca-ES" sz="1000" b="0" i="0" u="none" strike="noStrike" kern="1200" cap="none" spc="0" normalizeH="0" baseline="0" dirty="0">
              <a:ln>
                <a:noFill/>
              </a:ln>
              <a:solidFill>
                <a:srgbClr val="2B0A3D"/>
              </a:solidFill>
              <a:effectLst/>
              <a:uLnTx/>
              <a:uFillTx/>
              <a:latin typeface="Ubuntu Light" panose="020B0304030602030204" pitchFamily="34" charset="0"/>
              <a:ea typeface="+mj-ea"/>
              <a:cs typeface="+mj-cs"/>
            </a:endParaRPr>
          </a:p>
        </p:txBody>
      </p:sp>
      <p:sp>
        <p:nvSpPr>
          <p:cNvPr id="137" name="Title 1">
            <a:extLst>
              <a:ext uri="{FF2B5EF4-FFF2-40B4-BE49-F238E27FC236}">
                <a16:creationId xmlns:a16="http://schemas.microsoft.com/office/drawing/2014/main" id="{10EBAEB8-B6E4-AB44-858C-1602EAC40F46}"/>
              </a:ext>
            </a:extLst>
          </p:cNvPr>
          <p:cNvSpPr txBox="1">
            <a:spLocks/>
          </p:cNvSpPr>
          <p:nvPr/>
        </p:nvSpPr>
        <p:spPr>
          <a:xfrm>
            <a:off x="469857" y="5778920"/>
            <a:ext cx="2977720" cy="944253"/>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L="171450" marR="0" lvl="0" indent="-171450" algn="l" defTabSz="914400" rtl="0" eaLnBrk="1" fontAlgn="auto" latinLnBrk="0" hangingPunct="1">
              <a:lnSpc>
                <a:spcPct val="100000"/>
              </a:lnSpc>
              <a:spcBef>
                <a:spcPct val="0"/>
              </a:spcBef>
              <a:spcAft>
                <a:spcPts val="0"/>
              </a:spcAft>
              <a:buClrTx/>
              <a:buSzTx/>
              <a:buFont typeface="Wingdings" pitchFamily="2" charset="2"/>
              <a:buChar char="§"/>
              <a:tabLst/>
              <a:defRPr/>
            </a:pPr>
            <a:endParaRPr kumimoji="0" lang="en-US" sz="1200" b="0" i="0" u="none" strike="noStrike" kern="1200" cap="none" spc="0" normalizeH="0" baseline="0" noProof="0">
              <a:ln>
                <a:noFill/>
              </a:ln>
              <a:solidFill>
                <a:srgbClr val="FFFFFF"/>
              </a:solidFill>
              <a:effectLst/>
              <a:uLnTx/>
              <a:uFillTx/>
              <a:latin typeface="Ubuntu Light" panose="020B0304030602030204" pitchFamily="34" charset="0"/>
              <a:ea typeface="+mj-ea"/>
              <a:cs typeface="+mj-cs"/>
            </a:endParaRPr>
          </a:p>
        </p:txBody>
      </p:sp>
      <p:pic>
        <p:nvPicPr>
          <p:cNvPr id="143" name="Picture 11">
            <a:extLst>
              <a:ext uri="{FF2B5EF4-FFF2-40B4-BE49-F238E27FC236}">
                <a16:creationId xmlns:a16="http://schemas.microsoft.com/office/drawing/2014/main" id="{DF9C26DD-2DEA-074B-AB08-9058DCD5DF9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11909" y="3716293"/>
            <a:ext cx="1507764" cy="1502618"/>
          </a:xfrm>
          <a:prstGeom prst="rect">
            <a:avLst/>
          </a:prstGeom>
        </p:spPr>
      </p:pic>
      <p:sp>
        <p:nvSpPr>
          <p:cNvPr id="144" name="Title 1">
            <a:extLst>
              <a:ext uri="{FF2B5EF4-FFF2-40B4-BE49-F238E27FC236}">
                <a16:creationId xmlns:a16="http://schemas.microsoft.com/office/drawing/2014/main" id="{516CF9F9-F2DB-0D4E-9B74-84FD24C3C64F}"/>
              </a:ext>
            </a:extLst>
          </p:cNvPr>
          <p:cNvSpPr txBox="1">
            <a:spLocks/>
          </p:cNvSpPr>
          <p:nvPr/>
        </p:nvSpPr>
        <p:spPr>
          <a:xfrm>
            <a:off x="6111241" y="4059426"/>
            <a:ext cx="2410704" cy="479107"/>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ES_tradnl" sz="1800" b="1" i="0" u="none" strike="noStrike" kern="1200" cap="none" spc="0" normalizeH="0" baseline="0" noProof="0" dirty="0" err="1">
                <a:ln>
                  <a:noFill/>
                </a:ln>
                <a:solidFill>
                  <a:srgbClr val="2B0A3D"/>
                </a:solidFill>
                <a:effectLst/>
                <a:uLnTx/>
                <a:uFillTx/>
                <a:latin typeface="Ubuntu" panose="020B0504030602030204" pitchFamily="34" charset="0"/>
                <a:ea typeface="+mj-ea"/>
                <a:cs typeface="+mj-cs"/>
              </a:rPr>
              <a:t>Dashboard</a:t>
            </a:r>
            <a:r>
              <a:rPr kumimoji="0" lang="es-ES_tradnl" sz="1800" b="1" i="0" u="none" strike="noStrike" kern="1200" cap="none" spc="0" normalizeH="0" baseline="0" noProof="0" dirty="0">
                <a:ln>
                  <a:noFill/>
                </a:ln>
                <a:solidFill>
                  <a:srgbClr val="2B0A3D"/>
                </a:solidFill>
                <a:effectLst/>
                <a:uLnTx/>
                <a:uFillTx/>
                <a:latin typeface="Ubuntu" panose="020B0504030602030204" pitchFamily="34" charset="0"/>
                <a:ea typeface="+mj-ea"/>
                <a:cs typeface="+mj-cs"/>
              </a:rPr>
              <a:t> de análisis actual y predicción</a:t>
            </a:r>
          </a:p>
        </p:txBody>
      </p:sp>
      <p:sp>
        <p:nvSpPr>
          <p:cNvPr id="145" name="Title 1">
            <a:extLst>
              <a:ext uri="{FF2B5EF4-FFF2-40B4-BE49-F238E27FC236}">
                <a16:creationId xmlns:a16="http://schemas.microsoft.com/office/drawing/2014/main" id="{68AEEF12-7D99-2E49-8E78-657233DC2A58}"/>
              </a:ext>
            </a:extLst>
          </p:cNvPr>
          <p:cNvSpPr txBox="1">
            <a:spLocks/>
          </p:cNvSpPr>
          <p:nvPr/>
        </p:nvSpPr>
        <p:spPr>
          <a:xfrm>
            <a:off x="6096000" y="4847437"/>
            <a:ext cx="2526282" cy="1575483"/>
          </a:xfrm>
          <a:prstGeom prst="rect">
            <a:avLst/>
          </a:prstGeom>
        </p:spPr>
        <p:txBody>
          <a:bodyPr vert="horz" lIns="0" tIns="0" rIns="0" bIns="0" rtlCol="0" anchor="t">
            <a:normAutofit/>
          </a:bodyPr>
          <a:lstStyle>
            <a:defPPr>
              <a:defRPr lang="en-US"/>
            </a:defPPr>
            <a:lvl1pPr>
              <a:lnSpc>
                <a:spcPct val="90000"/>
              </a:lnSpc>
              <a:spcBef>
                <a:spcPct val="0"/>
              </a:spcBef>
              <a:buNone/>
              <a:defRPr sz="11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ES_tradnl" sz="1100" b="0" i="0" u="none" strike="noStrike" kern="1200" cap="none" spc="0" normalizeH="0" baseline="0" noProof="0" dirty="0">
                <a:ln>
                  <a:noFill/>
                </a:ln>
                <a:solidFill>
                  <a:srgbClr val="2B0A3D"/>
                </a:solidFill>
                <a:effectLst/>
                <a:uLnTx/>
                <a:uFillTx/>
                <a:latin typeface="Ubuntu"/>
                <a:ea typeface="+mj-ea"/>
                <a:cs typeface="+mj-cs"/>
              </a:rPr>
              <a:t>Como resultado, se presenta un </a:t>
            </a:r>
            <a:r>
              <a:rPr kumimoji="0" lang="es-ES_tradnl" sz="1100" b="0" i="0" u="none" strike="noStrike" kern="1200" cap="none" spc="0" normalizeH="0" baseline="0" noProof="0" dirty="0" err="1">
                <a:ln>
                  <a:noFill/>
                </a:ln>
                <a:solidFill>
                  <a:srgbClr val="2B0A3D"/>
                </a:solidFill>
                <a:effectLst/>
                <a:uLnTx/>
                <a:uFillTx/>
                <a:latin typeface="Ubuntu"/>
                <a:ea typeface="+mj-ea"/>
                <a:cs typeface="+mj-cs"/>
              </a:rPr>
              <a:t>dashboard</a:t>
            </a:r>
            <a:r>
              <a:rPr kumimoji="0" lang="es-ES_tradnl" sz="1100" b="0" i="0" u="none" strike="noStrike" kern="1200" cap="none" spc="0" normalizeH="0" baseline="0" noProof="0" dirty="0">
                <a:ln>
                  <a:noFill/>
                </a:ln>
                <a:solidFill>
                  <a:srgbClr val="2B0A3D"/>
                </a:solidFill>
                <a:effectLst/>
                <a:uLnTx/>
                <a:uFillTx/>
                <a:latin typeface="Ubuntu"/>
                <a:ea typeface="+mj-ea"/>
                <a:cs typeface="+mj-cs"/>
              </a:rPr>
              <a:t> de resultados con un cuadro por niveles de riesgo y área funcional, así como un gráfico de evolución y predicción del riesgo.</a:t>
            </a:r>
          </a:p>
        </p:txBody>
      </p:sp>
      <p:sp>
        <p:nvSpPr>
          <p:cNvPr id="7" name="Marcador de texto 6">
            <a:extLst>
              <a:ext uri="{FF2B5EF4-FFF2-40B4-BE49-F238E27FC236}">
                <a16:creationId xmlns:a16="http://schemas.microsoft.com/office/drawing/2014/main" id="{26238EA9-9938-4874-9475-616A87024164}"/>
              </a:ext>
            </a:extLst>
          </p:cNvPr>
          <p:cNvSpPr>
            <a:spLocks noGrp="1"/>
          </p:cNvSpPr>
          <p:nvPr>
            <p:ph type="body" sz="quarter" idx="10"/>
          </p:nvPr>
        </p:nvSpPr>
        <p:spPr>
          <a:xfrm>
            <a:off x="10048584" y="4732043"/>
            <a:ext cx="1785881" cy="1806269"/>
          </a:xfrm>
        </p:spPr>
        <p:txBody>
          <a:bodyPr/>
          <a:lstStyle/>
          <a:p>
            <a:r>
              <a:rPr lang="es-ES_tradnl"/>
              <a:t>Aplicable a cualquier tipo de proyecto en el que las pruebas se estructuran por área funcional, requisitos, épicas,…</a:t>
            </a:r>
          </a:p>
        </p:txBody>
      </p:sp>
      <p:sp>
        <p:nvSpPr>
          <p:cNvPr id="6" name="Título 5">
            <a:extLst>
              <a:ext uri="{FF2B5EF4-FFF2-40B4-BE49-F238E27FC236}">
                <a16:creationId xmlns:a16="http://schemas.microsoft.com/office/drawing/2014/main" id="{3F4FFB4B-8809-40C8-B566-1F95C4345C87}"/>
              </a:ext>
            </a:extLst>
          </p:cNvPr>
          <p:cNvSpPr>
            <a:spLocks noGrp="1"/>
          </p:cNvSpPr>
          <p:nvPr>
            <p:ph type="title"/>
          </p:nvPr>
        </p:nvSpPr>
        <p:spPr>
          <a:xfrm>
            <a:off x="696022" y="601781"/>
            <a:ext cx="3555201" cy="1747879"/>
          </a:xfrm>
        </p:spPr>
        <p:txBody>
          <a:bodyPr/>
          <a:lstStyle/>
          <a:p>
            <a:r>
              <a:rPr lang="es-ES" sz="2800" dirty="0"/>
              <a:t>CognitiveQA – </a:t>
            </a:r>
            <a:r>
              <a:rPr lang="es-ES" dirty="0"/>
              <a:t>Modelo de riesgos por área funcional</a:t>
            </a:r>
            <a:endParaRPr lang="en-GB" dirty="0"/>
          </a:p>
        </p:txBody>
      </p:sp>
      <p:pic>
        <p:nvPicPr>
          <p:cNvPr id="23" name="Imagen 22" descr="Imagen en blanco y negro de la luna&#10;&#10;Descripción generada automáticamente con confianza baja">
            <a:extLst>
              <a:ext uri="{FF2B5EF4-FFF2-40B4-BE49-F238E27FC236}">
                <a16:creationId xmlns:a16="http://schemas.microsoft.com/office/drawing/2014/main" id="{5CD469B9-1CA6-435F-82E4-761805E2B9A3}"/>
              </a:ext>
            </a:extLst>
          </p:cNvPr>
          <p:cNvPicPr>
            <a:picLocks noChangeAspect="1"/>
          </p:cNvPicPr>
          <p:nvPr/>
        </p:nvPicPr>
        <p:blipFill>
          <a:blip r:embed="rId5"/>
          <a:stretch>
            <a:fillRect/>
          </a:stretch>
        </p:blipFill>
        <p:spPr>
          <a:xfrm>
            <a:off x="9353550" y="3037877"/>
            <a:ext cx="2127732" cy="1189636"/>
          </a:xfrm>
          <a:prstGeom prst="rect">
            <a:avLst/>
          </a:prstGeom>
        </p:spPr>
      </p:pic>
      <p:pic>
        <p:nvPicPr>
          <p:cNvPr id="16" name="Imagen 15" descr="Imagen que contiene firmar, señal, parada, parado&#10;&#10;Descripción generada automáticamente">
            <a:extLst>
              <a:ext uri="{FF2B5EF4-FFF2-40B4-BE49-F238E27FC236}">
                <a16:creationId xmlns:a16="http://schemas.microsoft.com/office/drawing/2014/main" id="{751452E1-BA97-D243-8030-747B5C3E62CC}"/>
              </a:ext>
            </a:extLst>
          </p:cNvPr>
          <p:cNvPicPr>
            <a:picLocks noChangeAspect="1"/>
          </p:cNvPicPr>
          <p:nvPr/>
        </p:nvPicPr>
        <p:blipFill>
          <a:blip r:embed="rId6"/>
          <a:stretch>
            <a:fillRect/>
          </a:stretch>
        </p:blipFill>
        <p:spPr>
          <a:xfrm>
            <a:off x="696021" y="5851526"/>
            <a:ext cx="1606644" cy="763422"/>
          </a:xfrm>
          <a:prstGeom prst="rect">
            <a:avLst/>
          </a:prstGeom>
        </p:spPr>
      </p:pic>
    </p:spTree>
    <p:extLst>
      <p:ext uri="{BB962C8B-B14F-4D97-AF65-F5344CB8AC3E}">
        <p14:creationId xmlns:p14="http://schemas.microsoft.com/office/powerpoint/2010/main" val="27574574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6" name="Picture 102957">
            <a:extLst>
              <a:ext uri="{FF2B5EF4-FFF2-40B4-BE49-F238E27FC236}">
                <a16:creationId xmlns:a16="http://schemas.microsoft.com/office/drawing/2014/main" id="{D11F1EFA-806C-874C-9927-ADD643ACBE1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3601824" y="1107256"/>
            <a:ext cx="1868076" cy="1560154"/>
          </a:xfrm>
          <a:prstGeom prst="rect">
            <a:avLst/>
          </a:prstGeom>
        </p:spPr>
      </p:pic>
      <p:sp>
        <p:nvSpPr>
          <p:cNvPr id="134" name="Title 1">
            <a:extLst>
              <a:ext uri="{FF2B5EF4-FFF2-40B4-BE49-F238E27FC236}">
                <a16:creationId xmlns:a16="http://schemas.microsoft.com/office/drawing/2014/main" id="{C8B1C3C0-2E22-3047-9432-F7C45CCF111E}"/>
              </a:ext>
            </a:extLst>
          </p:cNvPr>
          <p:cNvSpPr txBox="1">
            <a:spLocks/>
          </p:cNvSpPr>
          <p:nvPr/>
        </p:nvSpPr>
        <p:spPr>
          <a:xfrm>
            <a:off x="442428" y="2109840"/>
            <a:ext cx="2977720" cy="944253"/>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L="171450" marR="0" lvl="0" indent="-171450" algn="l" defTabSz="914400" rtl="0" eaLnBrk="1" fontAlgn="auto" latinLnBrk="0" hangingPunct="1">
              <a:lnSpc>
                <a:spcPct val="100000"/>
              </a:lnSpc>
              <a:spcBef>
                <a:spcPct val="0"/>
              </a:spcBef>
              <a:spcAft>
                <a:spcPts val="0"/>
              </a:spcAft>
              <a:buClrTx/>
              <a:buSzTx/>
              <a:buFont typeface="Wingdings" pitchFamily="2" charset="2"/>
              <a:buChar char="§"/>
              <a:tabLst/>
              <a:defRPr/>
            </a:pPr>
            <a:endParaRPr kumimoji="0" lang="en-US" sz="1200" b="0" i="0" u="none" strike="noStrike" kern="1200" cap="none" spc="0" normalizeH="0" baseline="0" noProof="0">
              <a:ln>
                <a:noFill/>
              </a:ln>
              <a:solidFill>
                <a:srgbClr val="FFFFFF"/>
              </a:solidFill>
              <a:effectLst/>
              <a:uLnTx/>
              <a:uFillTx/>
              <a:latin typeface="Ubuntu Light" panose="020B0304030602030204" pitchFamily="34" charset="0"/>
              <a:ea typeface="+mj-ea"/>
              <a:cs typeface="+mj-cs"/>
            </a:endParaRPr>
          </a:p>
        </p:txBody>
      </p:sp>
      <p:sp>
        <p:nvSpPr>
          <p:cNvPr id="135" name="Title 1">
            <a:extLst>
              <a:ext uri="{FF2B5EF4-FFF2-40B4-BE49-F238E27FC236}">
                <a16:creationId xmlns:a16="http://schemas.microsoft.com/office/drawing/2014/main" id="{607DF644-DB64-CC44-97D6-69D5A0F708B6}"/>
              </a:ext>
            </a:extLst>
          </p:cNvPr>
          <p:cNvSpPr txBox="1">
            <a:spLocks/>
          </p:cNvSpPr>
          <p:nvPr/>
        </p:nvSpPr>
        <p:spPr>
          <a:xfrm>
            <a:off x="454694" y="2981209"/>
            <a:ext cx="2989985" cy="944253"/>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L="171450" marR="0" lvl="0" indent="-171450" algn="l" defTabSz="914400" rtl="0" eaLnBrk="1" fontAlgn="auto" latinLnBrk="0" hangingPunct="1">
              <a:lnSpc>
                <a:spcPct val="100000"/>
              </a:lnSpc>
              <a:spcBef>
                <a:spcPct val="0"/>
              </a:spcBef>
              <a:spcAft>
                <a:spcPts val="0"/>
              </a:spcAft>
              <a:buClrTx/>
              <a:buSzTx/>
              <a:buFont typeface="Wingdings" pitchFamily="2" charset="2"/>
              <a:buChar char="§"/>
              <a:tabLst/>
              <a:defRPr/>
            </a:pPr>
            <a:endParaRPr kumimoji="0" lang="en-US" sz="1200" b="0" i="0" u="none" strike="noStrike" kern="1200" cap="none" spc="0" normalizeH="0" baseline="0" noProof="0">
              <a:ln>
                <a:noFill/>
              </a:ln>
              <a:solidFill>
                <a:srgbClr val="FFFFFF"/>
              </a:solidFill>
              <a:effectLst/>
              <a:uLnTx/>
              <a:uFillTx/>
              <a:latin typeface="Ubuntu Light" panose="020B0304030602030204" pitchFamily="34" charset="0"/>
              <a:ea typeface="+mj-ea"/>
              <a:cs typeface="+mj-cs"/>
            </a:endParaRPr>
          </a:p>
        </p:txBody>
      </p:sp>
      <p:sp>
        <p:nvSpPr>
          <p:cNvPr id="137" name="Title 1">
            <a:extLst>
              <a:ext uri="{FF2B5EF4-FFF2-40B4-BE49-F238E27FC236}">
                <a16:creationId xmlns:a16="http://schemas.microsoft.com/office/drawing/2014/main" id="{10EBAEB8-B6E4-AB44-858C-1602EAC40F46}"/>
              </a:ext>
            </a:extLst>
          </p:cNvPr>
          <p:cNvSpPr txBox="1">
            <a:spLocks/>
          </p:cNvSpPr>
          <p:nvPr/>
        </p:nvSpPr>
        <p:spPr>
          <a:xfrm>
            <a:off x="469857" y="5778920"/>
            <a:ext cx="2977720" cy="944253"/>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L="171450" marR="0" lvl="0" indent="-171450" algn="l" defTabSz="914400" rtl="0" eaLnBrk="1" fontAlgn="auto" latinLnBrk="0" hangingPunct="1">
              <a:lnSpc>
                <a:spcPct val="100000"/>
              </a:lnSpc>
              <a:spcBef>
                <a:spcPct val="0"/>
              </a:spcBef>
              <a:spcAft>
                <a:spcPts val="0"/>
              </a:spcAft>
              <a:buClrTx/>
              <a:buSzTx/>
              <a:buFont typeface="Wingdings" pitchFamily="2" charset="2"/>
              <a:buChar char="§"/>
              <a:tabLst/>
              <a:defRPr/>
            </a:pPr>
            <a:endParaRPr kumimoji="0" lang="en-US" sz="1200" b="0" i="0" u="none" strike="noStrike" kern="1200" cap="none" spc="0" normalizeH="0" baseline="0" noProof="0">
              <a:ln>
                <a:noFill/>
              </a:ln>
              <a:solidFill>
                <a:srgbClr val="FFFFFF"/>
              </a:solidFill>
              <a:effectLst/>
              <a:uLnTx/>
              <a:uFillTx/>
              <a:latin typeface="Ubuntu Light" panose="020B0304030602030204" pitchFamily="34" charset="0"/>
              <a:ea typeface="+mj-ea"/>
              <a:cs typeface="+mj-cs"/>
            </a:endParaRPr>
          </a:p>
        </p:txBody>
      </p:sp>
      <p:pic>
        <p:nvPicPr>
          <p:cNvPr id="143" name="Picture 11">
            <a:extLst>
              <a:ext uri="{FF2B5EF4-FFF2-40B4-BE49-F238E27FC236}">
                <a16:creationId xmlns:a16="http://schemas.microsoft.com/office/drawing/2014/main" id="{DF9C26DD-2DEA-074B-AB08-9058DCD5DF9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11909" y="3716293"/>
            <a:ext cx="1507764" cy="1502618"/>
          </a:xfrm>
          <a:prstGeom prst="rect">
            <a:avLst/>
          </a:prstGeom>
        </p:spPr>
      </p:pic>
      <p:sp>
        <p:nvSpPr>
          <p:cNvPr id="6" name="Título 5">
            <a:extLst>
              <a:ext uri="{FF2B5EF4-FFF2-40B4-BE49-F238E27FC236}">
                <a16:creationId xmlns:a16="http://schemas.microsoft.com/office/drawing/2014/main" id="{3F4FFB4B-8809-40C8-B566-1F95C4345C87}"/>
              </a:ext>
            </a:extLst>
          </p:cNvPr>
          <p:cNvSpPr>
            <a:spLocks noGrp="1"/>
          </p:cNvSpPr>
          <p:nvPr>
            <p:ph type="title"/>
          </p:nvPr>
        </p:nvSpPr>
        <p:spPr/>
        <p:txBody>
          <a:bodyPr/>
          <a:lstStyle/>
          <a:p>
            <a:r>
              <a:rPr lang="es-ES" sz="2800" dirty="0"/>
              <a:t>CognitiveQA – </a:t>
            </a:r>
            <a:r>
              <a:rPr lang="es-ES" dirty="0"/>
              <a:t>Modelo de priorización de pruebas</a:t>
            </a:r>
            <a:endParaRPr lang="en-GB" dirty="0"/>
          </a:p>
        </p:txBody>
      </p:sp>
      <p:pic>
        <p:nvPicPr>
          <p:cNvPr id="16" name="Imagen 15" descr="Imagen que contiene firmar, señal, parada, parado&#10;&#10;Descripción generada automáticamente">
            <a:extLst>
              <a:ext uri="{FF2B5EF4-FFF2-40B4-BE49-F238E27FC236}">
                <a16:creationId xmlns:a16="http://schemas.microsoft.com/office/drawing/2014/main" id="{751452E1-BA97-D243-8030-747B5C3E62CC}"/>
              </a:ext>
            </a:extLst>
          </p:cNvPr>
          <p:cNvPicPr>
            <a:picLocks noChangeAspect="1"/>
          </p:cNvPicPr>
          <p:nvPr/>
        </p:nvPicPr>
        <p:blipFill>
          <a:blip r:embed="rId4"/>
          <a:stretch>
            <a:fillRect/>
          </a:stretch>
        </p:blipFill>
        <p:spPr>
          <a:xfrm>
            <a:off x="696021" y="5851526"/>
            <a:ext cx="1606644" cy="763422"/>
          </a:xfrm>
          <a:prstGeom prst="rect">
            <a:avLst/>
          </a:prstGeom>
        </p:spPr>
      </p:pic>
      <p:sp>
        <p:nvSpPr>
          <p:cNvPr id="3" name="Marcador de texto 2">
            <a:extLst>
              <a:ext uri="{FF2B5EF4-FFF2-40B4-BE49-F238E27FC236}">
                <a16:creationId xmlns:a16="http://schemas.microsoft.com/office/drawing/2014/main" id="{AF8A6AC8-098B-C546-B884-999073F935CB}"/>
              </a:ext>
            </a:extLst>
          </p:cNvPr>
          <p:cNvSpPr>
            <a:spLocks noGrp="1"/>
          </p:cNvSpPr>
          <p:nvPr>
            <p:ph type="body" sz="quarter" idx="10"/>
          </p:nvPr>
        </p:nvSpPr>
        <p:spPr/>
        <p:txBody>
          <a:bodyPr/>
          <a:lstStyle/>
          <a:p>
            <a:r>
              <a:rPr lang="es-ES_tradnl" dirty="0"/>
              <a:t>Aplicable a cualquier tipo de proyecto con iteraciones y ventanas de ejecución de pruebas que requieren priorización</a:t>
            </a:r>
          </a:p>
          <a:p>
            <a:endParaRPr lang="es-ES" dirty="0"/>
          </a:p>
        </p:txBody>
      </p:sp>
      <p:sp>
        <p:nvSpPr>
          <p:cNvPr id="19" name="Title 1">
            <a:extLst>
              <a:ext uri="{FF2B5EF4-FFF2-40B4-BE49-F238E27FC236}">
                <a16:creationId xmlns:a16="http://schemas.microsoft.com/office/drawing/2014/main" id="{44A06288-C5E6-A749-BBD8-639D0717ED8A}"/>
              </a:ext>
            </a:extLst>
          </p:cNvPr>
          <p:cNvSpPr txBox="1">
            <a:spLocks/>
          </p:cNvSpPr>
          <p:nvPr/>
        </p:nvSpPr>
        <p:spPr>
          <a:xfrm>
            <a:off x="5214554" y="1508018"/>
            <a:ext cx="3633392" cy="937663"/>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ES_tradnl" sz="1800" b="1" i="0" u="none" strike="noStrike" kern="1200" cap="none" spc="0" normalizeH="0" baseline="0" dirty="0">
                <a:ln>
                  <a:noFill/>
                </a:ln>
                <a:solidFill>
                  <a:srgbClr val="2B0A3D"/>
                </a:solidFill>
                <a:effectLst/>
                <a:uLnTx/>
                <a:uFillTx/>
                <a:latin typeface="Ubuntu" panose="020B0504030602030204" pitchFamily="34" charset="0"/>
                <a:ea typeface="+mj-ea"/>
                <a:cs typeface="+mj-cs"/>
              </a:rPr>
              <a:t>Modelo de ana</a:t>
            </a:r>
            <a:r>
              <a:rPr lang="es-ES_tradnl" sz="1800" b="1" dirty="0">
                <a:solidFill>
                  <a:srgbClr val="2B0A3D"/>
                </a:solidFill>
              </a:rPr>
              <a:t>lítica avanzada para la priorización de pruebas</a:t>
            </a:r>
            <a:endParaRPr kumimoji="0" lang="es-ES_tradnl" sz="1800" b="1" i="0" u="none" strike="noStrike" kern="1200" cap="none" spc="0" normalizeH="0" baseline="0" dirty="0">
              <a:ln>
                <a:noFill/>
              </a:ln>
              <a:solidFill>
                <a:srgbClr val="2B0A3D"/>
              </a:solidFill>
              <a:effectLst/>
              <a:uLnTx/>
              <a:uFillTx/>
              <a:latin typeface="Ubuntu" panose="020B0504030602030204" pitchFamily="34" charset="0"/>
              <a:ea typeface="+mj-ea"/>
              <a:cs typeface="+mj-cs"/>
            </a:endParaRPr>
          </a:p>
        </p:txBody>
      </p:sp>
      <p:sp>
        <p:nvSpPr>
          <p:cNvPr id="20" name="Title 1">
            <a:extLst>
              <a:ext uri="{FF2B5EF4-FFF2-40B4-BE49-F238E27FC236}">
                <a16:creationId xmlns:a16="http://schemas.microsoft.com/office/drawing/2014/main" id="{15432174-8572-FB4E-B72E-F3B5B699CA2A}"/>
              </a:ext>
            </a:extLst>
          </p:cNvPr>
          <p:cNvSpPr txBox="1">
            <a:spLocks/>
          </p:cNvSpPr>
          <p:nvPr/>
        </p:nvSpPr>
        <p:spPr>
          <a:xfrm>
            <a:off x="5769891" y="2302098"/>
            <a:ext cx="2861459" cy="1502618"/>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lvl="0"/>
            <a:r>
              <a:rPr lang="es-ES_tradnl" sz="1100" dirty="0">
                <a:solidFill>
                  <a:srgbClr val="2B0A3D"/>
                </a:solidFill>
                <a:latin typeface="Ubuntu"/>
              </a:rPr>
              <a:t>Modelo de analítica avanzada desarrollado por </a:t>
            </a:r>
            <a:r>
              <a:rPr lang="es-ES_tradnl" sz="1100" dirty="0" err="1">
                <a:solidFill>
                  <a:srgbClr val="2B0A3D"/>
                </a:solidFill>
                <a:latin typeface="Ubuntu"/>
              </a:rPr>
              <a:t>SogetiLabs</a:t>
            </a:r>
            <a:r>
              <a:rPr lang="es-ES_tradnl" sz="1100" dirty="0">
                <a:solidFill>
                  <a:srgbClr val="2B0A3D"/>
                </a:solidFill>
                <a:latin typeface="Ubuntu"/>
              </a:rPr>
              <a:t> y adaptable al contexto del cliente, con el fin de seleccionar las pruebas más prioritarias (aquellas que abordan las áreas de mayor riesgo), teniendo en cuenta la ventana de ejecución y los recursos disponibles para la ejecución.</a:t>
            </a:r>
            <a:endParaRPr kumimoji="0" lang="es-ES_tradnl" sz="1100" b="0" i="0" u="none" strike="noStrike" kern="1200" cap="none" spc="0" normalizeH="0" baseline="0" dirty="0">
              <a:ln>
                <a:noFill/>
              </a:ln>
              <a:solidFill>
                <a:srgbClr val="2B0A3D"/>
              </a:solidFill>
              <a:effectLst/>
              <a:uLnTx/>
              <a:uFillTx/>
              <a:latin typeface="Ubuntu"/>
              <a:ea typeface="+mj-ea"/>
              <a:cs typeface="+mj-cs"/>
            </a:endParaRPr>
          </a:p>
        </p:txBody>
      </p:sp>
      <p:sp>
        <p:nvSpPr>
          <p:cNvPr id="21" name="Title 1">
            <a:extLst>
              <a:ext uri="{FF2B5EF4-FFF2-40B4-BE49-F238E27FC236}">
                <a16:creationId xmlns:a16="http://schemas.microsoft.com/office/drawing/2014/main" id="{847BF80A-697B-8A48-8FC9-66B799852654}"/>
              </a:ext>
            </a:extLst>
          </p:cNvPr>
          <p:cNvSpPr txBox="1">
            <a:spLocks/>
          </p:cNvSpPr>
          <p:nvPr/>
        </p:nvSpPr>
        <p:spPr>
          <a:xfrm>
            <a:off x="696021" y="3901765"/>
            <a:ext cx="3973677" cy="2413336"/>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R="0" lvl="0" algn="l" defTabSz="914400" rtl="0" eaLnBrk="1" fontAlgn="auto" latinLnBrk="0" hangingPunct="1">
              <a:lnSpc>
                <a:spcPct val="100000"/>
              </a:lnSpc>
              <a:spcBef>
                <a:spcPct val="0"/>
              </a:spcBef>
              <a:spcAft>
                <a:spcPts val="0"/>
              </a:spcAft>
              <a:buClrTx/>
              <a:buSzTx/>
              <a:tabLst/>
              <a:defRPr/>
            </a:pPr>
            <a:r>
              <a:rPr kumimoji="0" lang="es-ES_tradnl" sz="1600" i="0" u="none" strike="noStrike" kern="1200" cap="none" spc="0" normalizeH="0" baseline="0" dirty="0">
                <a:ln>
                  <a:noFill/>
                </a:ln>
                <a:solidFill>
                  <a:srgbClr val="2B0A3D"/>
                </a:solidFill>
                <a:effectLst/>
                <a:uLnTx/>
                <a:uFillTx/>
                <a:latin typeface="Ubuntu"/>
                <a:ea typeface="+mj-ea"/>
                <a:cs typeface="+mj-cs"/>
              </a:rPr>
              <a:t>Implementación de un </a:t>
            </a:r>
            <a:r>
              <a:rPr kumimoji="0" lang="es-ES_tradnl" sz="1600" b="1" i="0" u="none" strike="noStrike" kern="1200" cap="none" spc="0" normalizeH="0" baseline="0" dirty="0">
                <a:ln>
                  <a:noFill/>
                </a:ln>
                <a:solidFill>
                  <a:srgbClr val="2B0A3D"/>
                </a:solidFill>
                <a:effectLst/>
                <a:uLnTx/>
                <a:uFillTx/>
                <a:latin typeface="Ubuntu"/>
                <a:ea typeface="+mj-ea"/>
                <a:cs typeface="+mj-cs"/>
              </a:rPr>
              <a:t>modelo de priorización de pruebas, </a:t>
            </a:r>
            <a:r>
              <a:rPr kumimoji="0" lang="es-ES_tradnl" sz="1600" i="0" u="none" strike="noStrike" kern="1200" cap="none" spc="0" normalizeH="0" baseline="0" dirty="0">
                <a:ln>
                  <a:noFill/>
                </a:ln>
                <a:solidFill>
                  <a:srgbClr val="2B0A3D"/>
                </a:solidFill>
                <a:effectLst/>
                <a:uLnTx/>
                <a:uFillTx/>
                <a:latin typeface="Ubuntu"/>
                <a:ea typeface="+mj-ea"/>
                <a:cs typeface="+mj-cs"/>
              </a:rPr>
              <a:t>basado en los riesgos por área funcional y en los recursos disponibles (ventana de ejecución y esfuerzo disponible) </a:t>
            </a:r>
            <a:r>
              <a:rPr kumimoji="0" lang="es-ES_tradnl" sz="1600" b="1" i="0" u="none" strike="noStrike" kern="1200" cap="none" spc="0" normalizeH="0" baseline="0" dirty="0">
                <a:ln>
                  <a:noFill/>
                </a:ln>
                <a:solidFill>
                  <a:srgbClr val="2B0A3D"/>
                </a:solidFill>
                <a:effectLst/>
                <a:uLnTx/>
                <a:uFillTx/>
                <a:latin typeface="Ubuntu"/>
                <a:ea typeface="+mj-ea"/>
                <a:cs typeface="+mj-cs"/>
              </a:rPr>
              <a:t>con cálculo del riesgo derivado de la no ejecución de la totalidad de pruebas diseñadas.</a:t>
            </a:r>
          </a:p>
          <a:p>
            <a:pPr marR="0" lvl="0" algn="l" defTabSz="914400" rtl="0" eaLnBrk="1" fontAlgn="auto" latinLnBrk="0" hangingPunct="1">
              <a:lnSpc>
                <a:spcPct val="100000"/>
              </a:lnSpc>
              <a:spcBef>
                <a:spcPct val="0"/>
              </a:spcBef>
              <a:spcAft>
                <a:spcPts val="0"/>
              </a:spcAft>
              <a:buClrTx/>
              <a:buSzTx/>
              <a:tabLst/>
              <a:defRPr/>
            </a:pPr>
            <a:endParaRPr lang="es-ES_tradnl" sz="1200" b="1" dirty="0">
              <a:solidFill>
                <a:srgbClr val="2B0A3D"/>
              </a:solidFill>
              <a:latin typeface="Ubuntu"/>
            </a:endParaRPr>
          </a:p>
          <a:p>
            <a:pPr marL="171450" marR="0" lvl="0" indent="-171450" algn="l" defTabSz="914400" rtl="0" eaLnBrk="1" fontAlgn="auto" latinLnBrk="0" hangingPunct="1">
              <a:lnSpc>
                <a:spcPct val="100000"/>
              </a:lnSpc>
              <a:spcBef>
                <a:spcPct val="0"/>
              </a:spcBef>
              <a:spcAft>
                <a:spcPts val="0"/>
              </a:spcAft>
              <a:buClrTx/>
              <a:buSzTx/>
              <a:buFont typeface="Wingdings" pitchFamily="2" charset="2"/>
              <a:buChar char="§"/>
              <a:tabLst/>
              <a:defRPr/>
            </a:pPr>
            <a:endParaRPr kumimoji="0" lang="ca-ES" sz="1000" b="0" i="0" u="none" strike="noStrike" kern="1200" cap="none" spc="0" normalizeH="0" baseline="0" dirty="0">
              <a:ln>
                <a:noFill/>
              </a:ln>
              <a:solidFill>
                <a:srgbClr val="2B0A3D"/>
              </a:solidFill>
              <a:effectLst/>
              <a:uLnTx/>
              <a:uFillTx/>
              <a:latin typeface="Ubuntu Light" panose="020B0304030602030204" pitchFamily="34" charset="0"/>
              <a:ea typeface="+mj-ea"/>
              <a:cs typeface="+mj-cs"/>
            </a:endParaRPr>
          </a:p>
          <a:p>
            <a:pPr marL="171450" marR="0" lvl="0" indent="-171450" algn="l" defTabSz="914400" rtl="0" eaLnBrk="1" fontAlgn="auto" latinLnBrk="0" hangingPunct="1">
              <a:lnSpc>
                <a:spcPct val="100000"/>
              </a:lnSpc>
              <a:spcBef>
                <a:spcPct val="0"/>
              </a:spcBef>
              <a:spcAft>
                <a:spcPts val="0"/>
              </a:spcAft>
              <a:buClrTx/>
              <a:buSzTx/>
              <a:buFont typeface="Wingdings" pitchFamily="2" charset="2"/>
              <a:buChar char="§"/>
              <a:tabLst/>
              <a:defRPr/>
            </a:pPr>
            <a:endParaRPr kumimoji="0" lang="ca-ES" sz="1000" b="0" i="0" u="none" strike="noStrike" kern="1200" cap="none" spc="0" normalizeH="0" baseline="0" dirty="0">
              <a:ln>
                <a:noFill/>
              </a:ln>
              <a:solidFill>
                <a:srgbClr val="2B0A3D"/>
              </a:solidFill>
              <a:effectLst/>
              <a:uLnTx/>
              <a:uFillTx/>
              <a:latin typeface="Ubuntu Light" panose="020B0304030602030204" pitchFamily="34" charset="0"/>
              <a:ea typeface="+mj-ea"/>
              <a:cs typeface="+mj-cs"/>
            </a:endParaRPr>
          </a:p>
        </p:txBody>
      </p:sp>
      <p:sp>
        <p:nvSpPr>
          <p:cNvPr id="22" name="Title 1">
            <a:extLst>
              <a:ext uri="{FF2B5EF4-FFF2-40B4-BE49-F238E27FC236}">
                <a16:creationId xmlns:a16="http://schemas.microsoft.com/office/drawing/2014/main" id="{60B0AC8C-05C9-2849-982F-04EBA49906CF}"/>
              </a:ext>
            </a:extLst>
          </p:cNvPr>
          <p:cNvSpPr txBox="1">
            <a:spLocks/>
          </p:cNvSpPr>
          <p:nvPr/>
        </p:nvSpPr>
        <p:spPr>
          <a:xfrm>
            <a:off x="6111241" y="4059426"/>
            <a:ext cx="2410704" cy="479107"/>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ES_tradnl" sz="1800" b="1" i="0" u="none" strike="noStrike" kern="1200" cap="none" spc="0" normalizeH="0" baseline="0" noProof="0" dirty="0" err="1">
                <a:ln>
                  <a:noFill/>
                </a:ln>
                <a:solidFill>
                  <a:srgbClr val="2B0A3D"/>
                </a:solidFill>
                <a:effectLst/>
                <a:uLnTx/>
                <a:uFillTx/>
                <a:latin typeface="Ubuntu" panose="020B0504030602030204" pitchFamily="34" charset="0"/>
                <a:ea typeface="+mj-ea"/>
                <a:cs typeface="+mj-cs"/>
              </a:rPr>
              <a:t>Dashboard</a:t>
            </a:r>
            <a:r>
              <a:rPr kumimoji="0" lang="es-ES_tradnl" sz="1800" b="1" i="0" u="none" strike="noStrike" kern="1200" cap="none" spc="0" normalizeH="0" baseline="0" noProof="0" dirty="0">
                <a:ln>
                  <a:noFill/>
                </a:ln>
                <a:solidFill>
                  <a:srgbClr val="2B0A3D"/>
                </a:solidFill>
                <a:effectLst/>
                <a:uLnTx/>
                <a:uFillTx/>
                <a:latin typeface="Ubuntu" panose="020B0504030602030204" pitchFamily="34" charset="0"/>
                <a:ea typeface="+mj-ea"/>
                <a:cs typeface="+mj-cs"/>
              </a:rPr>
              <a:t> de resultados</a:t>
            </a:r>
          </a:p>
        </p:txBody>
      </p:sp>
      <p:sp>
        <p:nvSpPr>
          <p:cNvPr id="24" name="Title 1">
            <a:extLst>
              <a:ext uri="{FF2B5EF4-FFF2-40B4-BE49-F238E27FC236}">
                <a16:creationId xmlns:a16="http://schemas.microsoft.com/office/drawing/2014/main" id="{17B29D54-34B0-EC45-996E-A6BF4B7BCAE6}"/>
              </a:ext>
            </a:extLst>
          </p:cNvPr>
          <p:cNvSpPr txBox="1">
            <a:spLocks/>
          </p:cNvSpPr>
          <p:nvPr/>
        </p:nvSpPr>
        <p:spPr>
          <a:xfrm>
            <a:off x="6096000" y="4847437"/>
            <a:ext cx="2526282" cy="1575483"/>
          </a:xfrm>
          <a:prstGeom prst="rect">
            <a:avLst/>
          </a:prstGeom>
        </p:spPr>
        <p:txBody>
          <a:bodyPr vert="horz" lIns="0" tIns="0" rIns="0" bIns="0" rtlCol="0" anchor="t">
            <a:normAutofit/>
          </a:bodyPr>
          <a:lstStyle>
            <a:defPPr>
              <a:defRPr lang="en-US"/>
            </a:defPPr>
            <a:lvl1pPr>
              <a:lnSpc>
                <a:spcPct val="90000"/>
              </a:lnSpc>
              <a:spcBef>
                <a:spcPct val="0"/>
              </a:spcBef>
              <a:buNone/>
              <a:defRPr sz="11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ES_tradnl" sz="1100" b="0" i="0" u="none" strike="noStrike" kern="1200" cap="none" spc="0" normalizeH="0" baseline="0" noProof="0" dirty="0">
                <a:ln>
                  <a:noFill/>
                </a:ln>
                <a:solidFill>
                  <a:srgbClr val="2B0A3D"/>
                </a:solidFill>
                <a:effectLst/>
                <a:uLnTx/>
                <a:uFillTx/>
                <a:latin typeface="Ubuntu"/>
                <a:ea typeface="+mj-ea"/>
                <a:cs typeface="+mj-cs"/>
              </a:rPr>
              <a:t>Como resultado, se presenta un </a:t>
            </a:r>
            <a:r>
              <a:rPr kumimoji="0" lang="es-ES_tradnl" sz="1100" b="0" i="0" u="none" strike="noStrike" kern="1200" cap="none" spc="0" normalizeH="0" baseline="0" noProof="0" dirty="0" err="1">
                <a:ln>
                  <a:noFill/>
                </a:ln>
                <a:solidFill>
                  <a:srgbClr val="2B0A3D"/>
                </a:solidFill>
                <a:effectLst/>
                <a:uLnTx/>
                <a:uFillTx/>
                <a:latin typeface="Ubuntu"/>
                <a:ea typeface="+mj-ea"/>
                <a:cs typeface="+mj-cs"/>
              </a:rPr>
              <a:t>dashboard</a:t>
            </a:r>
            <a:r>
              <a:rPr kumimoji="0" lang="es-ES_tradnl" sz="1100" b="0" i="0" u="none" strike="noStrike" kern="1200" cap="none" spc="0" normalizeH="0" baseline="0" noProof="0" dirty="0">
                <a:ln>
                  <a:noFill/>
                </a:ln>
                <a:solidFill>
                  <a:srgbClr val="2B0A3D"/>
                </a:solidFill>
                <a:effectLst/>
                <a:uLnTx/>
                <a:uFillTx/>
                <a:latin typeface="Ubuntu"/>
                <a:ea typeface="+mj-ea"/>
                <a:cs typeface="+mj-cs"/>
              </a:rPr>
              <a:t> que permite ajustar la ventana de tiempo y esfuerzo, ver la lista de casos de prueba prioritarios sugeridos por </a:t>
            </a:r>
            <a:r>
              <a:rPr kumimoji="0" lang="es-ES_tradnl" sz="1100" b="0" i="0" u="none" strike="noStrike" kern="1200" cap="none" spc="0" normalizeH="0" baseline="0" noProof="0" dirty="0" err="1">
                <a:ln>
                  <a:noFill/>
                </a:ln>
                <a:solidFill>
                  <a:srgbClr val="2B0A3D"/>
                </a:solidFill>
                <a:effectLst/>
                <a:uLnTx/>
                <a:uFillTx/>
                <a:latin typeface="Ubuntu"/>
                <a:ea typeface="+mj-ea"/>
                <a:cs typeface="+mj-cs"/>
              </a:rPr>
              <a:t>CognitiveQA</a:t>
            </a:r>
            <a:r>
              <a:rPr kumimoji="0" lang="es-ES_tradnl" sz="1100" b="0" i="0" u="none" strike="noStrike" kern="1200" cap="none" spc="0" normalizeH="0" baseline="0" noProof="0" dirty="0">
                <a:ln>
                  <a:noFill/>
                </a:ln>
                <a:solidFill>
                  <a:srgbClr val="2B0A3D"/>
                </a:solidFill>
                <a:effectLst/>
                <a:uLnTx/>
                <a:uFillTx/>
                <a:latin typeface="Ubuntu"/>
                <a:ea typeface="+mj-ea"/>
                <a:cs typeface="+mj-cs"/>
              </a:rPr>
              <a:t> y ver el riesgo derivado de la no ejecución de la totalidad de pruebas.</a:t>
            </a:r>
          </a:p>
        </p:txBody>
      </p:sp>
      <p:pic>
        <p:nvPicPr>
          <p:cNvPr id="5" name="Imagen 4">
            <a:extLst>
              <a:ext uri="{FF2B5EF4-FFF2-40B4-BE49-F238E27FC236}">
                <a16:creationId xmlns:a16="http://schemas.microsoft.com/office/drawing/2014/main" id="{2DEF9835-A9E4-9A42-A8B3-F886B6929162}"/>
              </a:ext>
            </a:extLst>
          </p:cNvPr>
          <p:cNvPicPr>
            <a:picLocks noChangeAspect="1"/>
          </p:cNvPicPr>
          <p:nvPr/>
        </p:nvPicPr>
        <p:blipFill>
          <a:blip r:embed="rId5"/>
          <a:stretch>
            <a:fillRect/>
          </a:stretch>
        </p:blipFill>
        <p:spPr>
          <a:xfrm>
            <a:off x="8986759" y="2109840"/>
            <a:ext cx="2960599" cy="1541667"/>
          </a:xfrm>
          <a:prstGeom prst="rect">
            <a:avLst/>
          </a:prstGeom>
        </p:spPr>
      </p:pic>
    </p:spTree>
    <p:extLst>
      <p:ext uri="{BB962C8B-B14F-4D97-AF65-F5344CB8AC3E}">
        <p14:creationId xmlns:p14="http://schemas.microsoft.com/office/powerpoint/2010/main" val="22169611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6" name="Picture 102957">
            <a:extLst>
              <a:ext uri="{FF2B5EF4-FFF2-40B4-BE49-F238E27FC236}">
                <a16:creationId xmlns:a16="http://schemas.microsoft.com/office/drawing/2014/main" id="{D11F1EFA-806C-874C-9927-ADD643ACBE1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3601824" y="1107256"/>
            <a:ext cx="1868076" cy="1560154"/>
          </a:xfrm>
          <a:prstGeom prst="rect">
            <a:avLst/>
          </a:prstGeom>
        </p:spPr>
      </p:pic>
      <p:sp>
        <p:nvSpPr>
          <p:cNvPr id="134" name="Title 1">
            <a:extLst>
              <a:ext uri="{FF2B5EF4-FFF2-40B4-BE49-F238E27FC236}">
                <a16:creationId xmlns:a16="http://schemas.microsoft.com/office/drawing/2014/main" id="{C8B1C3C0-2E22-3047-9432-F7C45CCF111E}"/>
              </a:ext>
            </a:extLst>
          </p:cNvPr>
          <p:cNvSpPr txBox="1">
            <a:spLocks/>
          </p:cNvSpPr>
          <p:nvPr/>
        </p:nvSpPr>
        <p:spPr>
          <a:xfrm>
            <a:off x="442428" y="2109840"/>
            <a:ext cx="2977720" cy="944253"/>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L="171450" marR="0" lvl="0" indent="-171450" algn="l" defTabSz="914400" rtl="0" eaLnBrk="1" fontAlgn="auto" latinLnBrk="0" hangingPunct="1">
              <a:lnSpc>
                <a:spcPct val="100000"/>
              </a:lnSpc>
              <a:spcBef>
                <a:spcPct val="0"/>
              </a:spcBef>
              <a:spcAft>
                <a:spcPts val="0"/>
              </a:spcAft>
              <a:buClrTx/>
              <a:buSzTx/>
              <a:buFont typeface="Wingdings" pitchFamily="2" charset="2"/>
              <a:buChar char="§"/>
              <a:tabLst/>
              <a:defRPr/>
            </a:pPr>
            <a:endParaRPr kumimoji="0" lang="en-US" sz="1200" b="0" i="0" u="none" strike="noStrike" kern="1200" cap="none" spc="0" normalizeH="0" baseline="0" noProof="0">
              <a:ln>
                <a:noFill/>
              </a:ln>
              <a:solidFill>
                <a:srgbClr val="FFFFFF"/>
              </a:solidFill>
              <a:effectLst/>
              <a:uLnTx/>
              <a:uFillTx/>
              <a:latin typeface="Ubuntu Light" panose="020B0304030602030204" pitchFamily="34" charset="0"/>
              <a:ea typeface="+mj-ea"/>
              <a:cs typeface="+mj-cs"/>
            </a:endParaRPr>
          </a:p>
        </p:txBody>
      </p:sp>
      <p:sp>
        <p:nvSpPr>
          <p:cNvPr id="135" name="Title 1">
            <a:extLst>
              <a:ext uri="{FF2B5EF4-FFF2-40B4-BE49-F238E27FC236}">
                <a16:creationId xmlns:a16="http://schemas.microsoft.com/office/drawing/2014/main" id="{607DF644-DB64-CC44-97D6-69D5A0F708B6}"/>
              </a:ext>
            </a:extLst>
          </p:cNvPr>
          <p:cNvSpPr txBox="1">
            <a:spLocks/>
          </p:cNvSpPr>
          <p:nvPr/>
        </p:nvSpPr>
        <p:spPr>
          <a:xfrm>
            <a:off x="454694" y="2981209"/>
            <a:ext cx="2989985" cy="944253"/>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L="171450" marR="0" lvl="0" indent="-171450" algn="l" defTabSz="914400" rtl="0" eaLnBrk="1" fontAlgn="auto" latinLnBrk="0" hangingPunct="1">
              <a:lnSpc>
                <a:spcPct val="100000"/>
              </a:lnSpc>
              <a:spcBef>
                <a:spcPct val="0"/>
              </a:spcBef>
              <a:spcAft>
                <a:spcPts val="0"/>
              </a:spcAft>
              <a:buClrTx/>
              <a:buSzTx/>
              <a:buFont typeface="Wingdings" pitchFamily="2" charset="2"/>
              <a:buChar char="§"/>
              <a:tabLst/>
              <a:defRPr/>
            </a:pPr>
            <a:endParaRPr kumimoji="0" lang="en-US" sz="1200" b="0" i="0" u="none" strike="noStrike" kern="1200" cap="none" spc="0" normalizeH="0" baseline="0" noProof="0">
              <a:ln>
                <a:noFill/>
              </a:ln>
              <a:solidFill>
                <a:srgbClr val="FFFFFF"/>
              </a:solidFill>
              <a:effectLst/>
              <a:uLnTx/>
              <a:uFillTx/>
              <a:latin typeface="Ubuntu Light" panose="020B0304030602030204" pitchFamily="34" charset="0"/>
              <a:ea typeface="+mj-ea"/>
              <a:cs typeface="+mj-cs"/>
            </a:endParaRPr>
          </a:p>
        </p:txBody>
      </p:sp>
      <p:sp>
        <p:nvSpPr>
          <p:cNvPr id="137" name="Title 1">
            <a:extLst>
              <a:ext uri="{FF2B5EF4-FFF2-40B4-BE49-F238E27FC236}">
                <a16:creationId xmlns:a16="http://schemas.microsoft.com/office/drawing/2014/main" id="{10EBAEB8-B6E4-AB44-858C-1602EAC40F46}"/>
              </a:ext>
            </a:extLst>
          </p:cNvPr>
          <p:cNvSpPr txBox="1">
            <a:spLocks/>
          </p:cNvSpPr>
          <p:nvPr/>
        </p:nvSpPr>
        <p:spPr>
          <a:xfrm>
            <a:off x="469857" y="5778920"/>
            <a:ext cx="2977720" cy="944253"/>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L="171450" marR="0" lvl="0" indent="-171450" algn="l" defTabSz="914400" rtl="0" eaLnBrk="1" fontAlgn="auto" latinLnBrk="0" hangingPunct="1">
              <a:lnSpc>
                <a:spcPct val="100000"/>
              </a:lnSpc>
              <a:spcBef>
                <a:spcPct val="0"/>
              </a:spcBef>
              <a:spcAft>
                <a:spcPts val="0"/>
              </a:spcAft>
              <a:buClrTx/>
              <a:buSzTx/>
              <a:buFont typeface="Wingdings" pitchFamily="2" charset="2"/>
              <a:buChar char="§"/>
              <a:tabLst/>
              <a:defRPr/>
            </a:pPr>
            <a:endParaRPr kumimoji="0" lang="en-US" sz="1200" b="0" i="0" u="none" strike="noStrike" kern="1200" cap="none" spc="0" normalizeH="0" baseline="0" noProof="0">
              <a:ln>
                <a:noFill/>
              </a:ln>
              <a:solidFill>
                <a:srgbClr val="FFFFFF"/>
              </a:solidFill>
              <a:effectLst/>
              <a:uLnTx/>
              <a:uFillTx/>
              <a:latin typeface="Ubuntu Light" panose="020B0304030602030204" pitchFamily="34" charset="0"/>
              <a:ea typeface="+mj-ea"/>
              <a:cs typeface="+mj-cs"/>
            </a:endParaRPr>
          </a:p>
        </p:txBody>
      </p:sp>
      <p:pic>
        <p:nvPicPr>
          <p:cNvPr id="143" name="Picture 11">
            <a:extLst>
              <a:ext uri="{FF2B5EF4-FFF2-40B4-BE49-F238E27FC236}">
                <a16:creationId xmlns:a16="http://schemas.microsoft.com/office/drawing/2014/main" id="{DF9C26DD-2DEA-074B-AB08-9058DCD5DF9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11909" y="3716293"/>
            <a:ext cx="1507764" cy="1502618"/>
          </a:xfrm>
          <a:prstGeom prst="rect">
            <a:avLst/>
          </a:prstGeom>
        </p:spPr>
      </p:pic>
      <p:sp>
        <p:nvSpPr>
          <p:cNvPr id="7" name="Marcador de texto 6">
            <a:extLst>
              <a:ext uri="{FF2B5EF4-FFF2-40B4-BE49-F238E27FC236}">
                <a16:creationId xmlns:a16="http://schemas.microsoft.com/office/drawing/2014/main" id="{26238EA9-9938-4874-9475-616A87024164}"/>
              </a:ext>
            </a:extLst>
          </p:cNvPr>
          <p:cNvSpPr>
            <a:spLocks noGrp="1"/>
          </p:cNvSpPr>
          <p:nvPr>
            <p:ph type="body" sz="quarter" idx="10"/>
          </p:nvPr>
        </p:nvSpPr>
        <p:spPr>
          <a:xfrm>
            <a:off x="10048585" y="4686214"/>
            <a:ext cx="1898774" cy="1806269"/>
          </a:xfrm>
        </p:spPr>
        <p:txBody>
          <a:bodyPr/>
          <a:lstStyle/>
          <a:p>
            <a:r>
              <a:rPr lang="es-ES_tradnl" dirty="0"/>
              <a:t>Aplicable a cualquier tipo de proyecto en el que hay un número considerable de defectos y casos de prueba con potenciales duplicados</a:t>
            </a:r>
          </a:p>
        </p:txBody>
      </p:sp>
      <p:sp>
        <p:nvSpPr>
          <p:cNvPr id="6" name="Título 5">
            <a:extLst>
              <a:ext uri="{FF2B5EF4-FFF2-40B4-BE49-F238E27FC236}">
                <a16:creationId xmlns:a16="http://schemas.microsoft.com/office/drawing/2014/main" id="{3F4FFB4B-8809-40C8-B566-1F95C4345C87}"/>
              </a:ext>
            </a:extLst>
          </p:cNvPr>
          <p:cNvSpPr>
            <a:spLocks noGrp="1"/>
          </p:cNvSpPr>
          <p:nvPr>
            <p:ph type="title"/>
          </p:nvPr>
        </p:nvSpPr>
        <p:spPr>
          <a:xfrm>
            <a:off x="696022" y="601781"/>
            <a:ext cx="3135198" cy="1747879"/>
          </a:xfrm>
        </p:spPr>
        <p:txBody>
          <a:bodyPr/>
          <a:lstStyle/>
          <a:p>
            <a:r>
              <a:rPr lang="es-ES" sz="2800" dirty="0"/>
              <a:t>CognitiveQA – </a:t>
            </a:r>
            <a:r>
              <a:rPr lang="es-ES" dirty="0"/>
              <a:t>Defectos y pruebas duplicados</a:t>
            </a:r>
            <a:endParaRPr lang="en-GB" dirty="0"/>
          </a:p>
        </p:txBody>
      </p:sp>
      <p:pic>
        <p:nvPicPr>
          <p:cNvPr id="16" name="Imagen 15" descr="Imagen que contiene firmar, señal, parada, parado&#10;&#10;Descripción generada automáticamente">
            <a:extLst>
              <a:ext uri="{FF2B5EF4-FFF2-40B4-BE49-F238E27FC236}">
                <a16:creationId xmlns:a16="http://schemas.microsoft.com/office/drawing/2014/main" id="{751452E1-BA97-D243-8030-747B5C3E62CC}"/>
              </a:ext>
            </a:extLst>
          </p:cNvPr>
          <p:cNvPicPr>
            <a:picLocks noChangeAspect="1"/>
          </p:cNvPicPr>
          <p:nvPr/>
        </p:nvPicPr>
        <p:blipFill>
          <a:blip r:embed="rId4"/>
          <a:stretch>
            <a:fillRect/>
          </a:stretch>
        </p:blipFill>
        <p:spPr>
          <a:xfrm>
            <a:off x="696021" y="5851526"/>
            <a:ext cx="1606644" cy="763422"/>
          </a:xfrm>
          <a:prstGeom prst="rect">
            <a:avLst/>
          </a:prstGeom>
        </p:spPr>
      </p:pic>
      <p:sp>
        <p:nvSpPr>
          <p:cNvPr id="17" name="Title 1">
            <a:extLst>
              <a:ext uri="{FF2B5EF4-FFF2-40B4-BE49-F238E27FC236}">
                <a16:creationId xmlns:a16="http://schemas.microsoft.com/office/drawing/2014/main" id="{37259CAE-E15E-2445-9A41-5B036B6EAB13}"/>
              </a:ext>
            </a:extLst>
          </p:cNvPr>
          <p:cNvSpPr txBox="1">
            <a:spLocks/>
          </p:cNvSpPr>
          <p:nvPr/>
        </p:nvSpPr>
        <p:spPr>
          <a:xfrm>
            <a:off x="5214554" y="1508018"/>
            <a:ext cx="3633392" cy="1203916"/>
          </a:xfrm>
          <a:prstGeom prst="rect">
            <a:avLst/>
          </a:prstGeom>
        </p:spPr>
        <p:txBody>
          <a:bodyPr vert="horz" lIns="0" tIns="0" rIns="0" bIns="0" rtlCol="0" anchor="t">
            <a:normAutofit lnSpcReduction="10000"/>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ES_tradnl" sz="1800" b="1" i="0" u="none" strike="noStrike" kern="1200" cap="none" spc="0" normalizeH="0" baseline="0" dirty="0">
                <a:ln>
                  <a:noFill/>
                </a:ln>
                <a:solidFill>
                  <a:srgbClr val="2B0A3D"/>
                </a:solidFill>
                <a:effectLst/>
                <a:uLnTx/>
                <a:uFillTx/>
                <a:latin typeface="Ubuntu" panose="020B0504030602030204" pitchFamily="34" charset="0"/>
                <a:ea typeface="+mj-ea"/>
                <a:cs typeface="+mj-cs"/>
              </a:rPr>
              <a:t>Modelo basado en NLP para detectar defectos, requerimientos y casos de prueba con similitudes significativas</a:t>
            </a:r>
          </a:p>
        </p:txBody>
      </p:sp>
      <p:sp>
        <p:nvSpPr>
          <p:cNvPr id="18" name="Title 1">
            <a:extLst>
              <a:ext uri="{FF2B5EF4-FFF2-40B4-BE49-F238E27FC236}">
                <a16:creationId xmlns:a16="http://schemas.microsoft.com/office/drawing/2014/main" id="{85F6B4F9-614A-5446-8535-D6BA1B0E3F10}"/>
              </a:ext>
            </a:extLst>
          </p:cNvPr>
          <p:cNvSpPr txBox="1">
            <a:spLocks/>
          </p:cNvSpPr>
          <p:nvPr/>
        </p:nvSpPr>
        <p:spPr>
          <a:xfrm>
            <a:off x="5885865" y="2667410"/>
            <a:ext cx="2489838" cy="1347492"/>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lvl="0"/>
            <a:r>
              <a:rPr lang="es-ES_tradnl" sz="1100" dirty="0">
                <a:solidFill>
                  <a:srgbClr val="2B0A3D"/>
                </a:solidFill>
                <a:latin typeface="Ubuntu"/>
              </a:rPr>
              <a:t>Modelo de inteligencia </a:t>
            </a:r>
            <a:r>
              <a:rPr lang="es-ES_tradnl" sz="1100" dirty="0" err="1">
                <a:solidFill>
                  <a:srgbClr val="2B0A3D"/>
                </a:solidFill>
                <a:latin typeface="Ubuntu"/>
              </a:rPr>
              <a:t>artifical</a:t>
            </a:r>
            <a:r>
              <a:rPr lang="es-ES_tradnl" sz="1100" dirty="0">
                <a:solidFill>
                  <a:srgbClr val="2B0A3D"/>
                </a:solidFill>
                <a:latin typeface="Ubuntu"/>
              </a:rPr>
              <a:t> desarrollado por </a:t>
            </a:r>
            <a:r>
              <a:rPr lang="es-ES_tradnl" sz="1100" dirty="0" err="1">
                <a:solidFill>
                  <a:srgbClr val="2B0A3D"/>
                </a:solidFill>
                <a:latin typeface="Ubuntu"/>
              </a:rPr>
              <a:t>SogetiLabs</a:t>
            </a:r>
            <a:r>
              <a:rPr lang="es-ES_tradnl" sz="1100" dirty="0">
                <a:solidFill>
                  <a:srgbClr val="2B0A3D"/>
                </a:solidFill>
                <a:latin typeface="Ubuntu"/>
              </a:rPr>
              <a:t> que detecta la similitud de defectos, requerimientos  y diseños de casos de prueba a partir de sus especificaciones en lenguaje natural.</a:t>
            </a:r>
            <a:endParaRPr kumimoji="0" lang="es-ES_tradnl" sz="1100" b="0" i="0" u="none" strike="noStrike" kern="1200" cap="none" spc="0" normalizeH="0" baseline="0" dirty="0">
              <a:ln>
                <a:noFill/>
              </a:ln>
              <a:solidFill>
                <a:srgbClr val="2B0A3D"/>
              </a:solidFill>
              <a:effectLst/>
              <a:uLnTx/>
              <a:uFillTx/>
              <a:latin typeface="Ubuntu"/>
              <a:ea typeface="+mj-ea"/>
              <a:cs typeface="+mj-cs"/>
            </a:endParaRPr>
          </a:p>
        </p:txBody>
      </p:sp>
      <p:sp>
        <p:nvSpPr>
          <p:cNvPr id="19" name="Title 1">
            <a:extLst>
              <a:ext uri="{FF2B5EF4-FFF2-40B4-BE49-F238E27FC236}">
                <a16:creationId xmlns:a16="http://schemas.microsoft.com/office/drawing/2014/main" id="{1A61C0DB-160B-6E43-9D78-48FC9B840E2B}"/>
              </a:ext>
            </a:extLst>
          </p:cNvPr>
          <p:cNvSpPr txBox="1">
            <a:spLocks/>
          </p:cNvSpPr>
          <p:nvPr/>
        </p:nvSpPr>
        <p:spPr>
          <a:xfrm>
            <a:off x="696021" y="3901765"/>
            <a:ext cx="3973677" cy="2413336"/>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R="0" lvl="0" algn="l" defTabSz="914400" rtl="0" eaLnBrk="1" fontAlgn="auto" latinLnBrk="0" hangingPunct="1">
              <a:lnSpc>
                <a:spcPct val="100000"/>
              </a:lnSpc>
              <a:spcBef>
                <a:spcPct val="0"/>
              </a:spcBef>
              <a:spcAft>
                <a:spcPts val="0"/>
              </a:spcAft>
              <a:buClrTx/>
              <a:buSzTx/>
              <a:tabLst/>
              <a:defRPr/>
            </a:pPr>
            <a:r>
              <a:rPr kumimoji="0" lang="es-ES_tradnl" sz="1600" i="0" u="none" strike="noStrike" kern="1200" cap="none" spc="0" normalizeH="0" baseline="0" dirty="0">
                <a:ln>
                  <a:noFill/>
                </a:ln>
                <a:solidFill>
                  <a:srgbClr val="2B0A3D"/>
                </a:solidFill>
                <a:effectLst/>
                <a:uLnTx/>
                <a:uFillTx/>
                <a:latin typeface="Ubuntu"/>
                <a:ea typeface="+mj-ea"/>
                <a:cs typeface="+mj-cs"/>
              </a:rPr>
              <a:t>Implementación de un </a:t>
            </a:r>
            <a:r>
              <a:rPr kumimoji="0" lang="es-ES_tradnl" sz="1600" b="1" i="0" u="none" strike="noStrike" kern="1200" cap="none" spc="0" normalizeH="0" baseline="0" dirty="0">
                <a:ln>
                  <a:noFill/>
                </a:ln>
                <a:solidFill>
                  <a:srgbClr val="2B0A3D"/>
                </a:solidFill>
                <a:effectLst/>
                <a:uLnTx/>
                <a:uFillTx/>
                <a:latin typeface="Ubuntu"/>
                <a:ea typeface="+mj-ea"/>
                <a:cs typeface="+mj-cs"/>
              </a:rPr>
              <a:t>modelo de similitud por NLP (Natural </a:t>
            </a:r>
            <a:r>
              <a:rPr kumimoji="0" lang="es-ES_tradnl" sz="1600" b="1" i="0" u="none" strike="noStrike" kern="1200" cap="none" spc="0" normalizeH="0" baseline="0" dirty="0" err="1">
                <a:ln>
                  <a:noFill/>
                </a:ln>
                <a:solidFill>
                  <a:srgbClr val="2B0A3D"/>
                </a:solidFill>
                <a:effectLst/>
                <a:uLnTx/>
                <a:uFillTx/>
                <a:latin typeface="Ubuntu"/>
                <a:ea typeface="+mj-ea"/>
                <a:cs typeface="+mj-cs"/>
              </a:rPr>
              <a:t>Language</a:t>
            </a:r>
            <a:r>
              <a:rPr kumimoji="0" lang="es-ES_tradnl" sz="1600" b="1" i="0" u="none" strike="noStrike" kern="1200" cap="none" spc="0" normalizeH="0" baseline="0" dirty="0">
                <a:ln>
                  <a:noFill/>
                </a:ln>
                <a:solidFill>
                  <a:srgbClr val="2B0A3D"/>
                </a:solidFill>
                <a:effectLst/>
                <a:uLnTx/>
                <a:uFillTx/>
                <a:latin typeface="Ubuntu"/>
                <a:ea typeface="+mj-ea"/>
                <a:cs typeface="+mj-cs"/>
              </a:rPr>
              <a:t> </a:t>
            </a:r>
            <a:r>
              <a:rPr kumimoji="0" lang="es-ES_tradnl" sz="1600" b="1" i="0" u="none" strike="noStrike" kern="1200" cap="none" spc="0" normalizeH="0" baseline="0" dirty="0" err="1">
                <a:ln>
                  <a:noFill/>
                </a:ln>
                <a:solidFill>
                  <a:srgbClr val="2B0A3D"/>
                </a:solidFill>
                <a:effectLst/>
                <a:uLnTx/>
                <a:uFillTx/>
                <a:latin typeface="Ubuntu"/>
                <a:ea typeface="+mj-ea"/>
                <a:cs typeface="+mj-cs"/>
              </a:rPr>
              <a:t>Processing</a:t>
            </a:r>
            <a:r>
              <a:rPr kumimoji="0" lang="es-ES_tradnl" sz="1600" b="1" i="0" u="none" strike="noStrike" kern="1200" cap="none" spc="0" normalizeH="0" baseline="0" dirty="0">
                <a:ln>
                  <a:noFill/>
                </a:ln>
                <a:solidFill>
                  <a:srgbClr val="2B0A3D"/>
                </a:solidFill>
                <a:effectLst/>
                <a:uLnTx/>
                <a:uFillTx/>
                <a:latin typeface="Ubuntu"/>
                <a:ea typeface="+mj-ea"/>
                <a:cs typeface="+mj-cs"/>
              </a:rPr>
              <a:t>), </a:t>
            </a:r>
            <a:r>
              <a:rPr kumimoji="0" lang="es-ES_tradnl" sz="1600" i="0" u="none" strike="noStrike" kern="1200" cap="none" spc="0" normalizeH="0" baseline="0" dirty="0">
                <a:ln>
                  <a:noFill/>
                </a:ln>
                <a:solidFill>
                  <a:srgbClr val="2B0A3D"/>
                </a:solidFill>
                <a:effectLst/>
                <a:uLnTx/>
                <a:uFillTx/>
                <a:latin typeface="Ubuntu"/>
                <a:ea typeface="+mj-ea"/>
                <a:cs typeface="+mj-cs"/>
              </a:rPr>
              <a:t>con el fin de </a:t>
            </a:r>
            <a:r>
              <a:rPr kumimoji="0" lang="es-ES_tradnl" sz="1600" b="1" i="0" u="none" strike="noStrike" kern="1200" cap="none" spc="0" normalizeH="0" baseline="0" dirty="0">
                <a:ln>
                  <a:noFill/>
                </a:ln>
                <a:solidFill>
                  <a:srgbClr val="2B0A3D"/>
                </a:solidFill>
                <a:effectLst/>
                <a:uLnTx/>
                <a:uFillTx/>
                <a:latin typeface="Ubuntu"/>
                <a:ea typeface="+mj-ea"/>
                <a:cs typeface="+mj-cs"/>
              </a:rPr>
              <a:t>detectar defectos, requerimientos y pruebas potencialmente duplicadas</a:t>
            </a:r>
            <a:r>
              <a:rPr kumimoji="0" lang="es-ES_tradnl" sz="1600" i="0" u="none" strike="noStrike" kern="1200" cap="none" spc="0" normalizeH="0" baseline="0" dirty="0">
                <a:ln>
                  <a:noFill/>
                </a:ln>
                <a:solidFill>
                  <a:srgbClr val="2B0A3D"/>
                </a:solidFill>
                <a:effectLst/>
                <a:uLnTx/>
                <a:uFillTx/>
                <a:latin typeface="Ubuntu"/>
                <a:ea typeface="+mj-ea"/>
                <a:cs typeface="+mj-cs"/>
              </a:rPr>
              <a:t>, que son una causa frecuente de ineficiencias.</a:t>
            </a:r>
            <a:endParaRPr kumimoji="0" lang="es-ES_tradnl" sz="1600" b="1" i="0" u="none" strike="noStrike" kern="1200" cap="none" spc="0" normalizeH="0" baseline="0" dirty="0">
              <a:ln>
                <a:noFill/>
              </a:ln>
              <a:solidFill>
                <a:srgbClr val="2B0A3D"/>
              </a:solidFill>
              <a:effectLst/>
              <a:uLnTx/>
              <a:uFillTx/>
              <a:latin typeface="Ubuntu"/>
              <a:ea typeface="+mj-ea"/>
              <a:cs typeface="+mj-cs"/>
            </a:endParaRPr>
          </a:p>
          <a:p>
            <a:pPr marR="0" lvl="0" algn="l" defTabSz="914400" rtl="0" eaLnBrk="1" fontAlgn="auto" latinLnBrk="0" hangingPunct="1">
              <a:lnSpc>
                <a:spcPct val="100000"/>
              </a:lnSpc>
              <a:spcBef>
                <a:spcPct val="0"/>
              </a:spcBef>
              <a:spcAft>
                <a:spcPts val="0"/>
              </a:spcAft>
              <a:buClrTx/>
              <a:buSzTx/>
              <a:tabLst/>
              <a:defRPr/>
            </a:pPr>
            <a:endParaRPr lang="es-ES_tradnl" sz="1200" b="1" dirty="0">
              <a:solidFill>
                <a:srgbClr val="2B0A3D"/>
              </a:solidFill>
              <a:latin typeface="Ubuntu"/>
            </a:endParaRPr>
          </a:p>
          <a:p>
            <a:pPr marL="171450" marR="0" lvl="0" indent="-171450" algn="l" defTabSz="914400" rtl="0" eaLnBrk="1" fontAlgn="auto" latinLnBrk="0" hangingPunct="1">
              <a:lnSpc>
                <a:spcPct val="100000"/>
              </a:lnSpc>
              <a:spcBef>
                <a:spcPct val="0"/>
              </a:spcBef>
              <a:spcAft>
                <a:spcPts val="0"/>
              </a:spcAft>
              <a:buClrTx/>
              <a:buSzTx/>
              <a:buFont typeface="Wingdings" pitchFamily="2" charset="2"/>
              <a:buChar char="§"/>
              <a:tabLst/>
              <a:defRPr/>
            </a:pPr>
            <a:endParaRPr kumimoji="0" lang="ca-ES" sz="1000" b="0" i="0" u="none" strike="noStrike" kern="1200" cap="none" spc="0" normalizeH="0" baseline="0" dirty="0">
              <a:ln>
                <a:noFill/>
              </a:ln>
              <a:solidFill>
                <a:srgbClr val="2B0A3D"/>
              </a:solidFill>
              <a:effectLst/>
              <a:uLnTx/>
              <a:uFillTx/>
              <a:latin typeface="Ubuntu Light" panose="020B0304030602030204" pitchFamily="34" charset="0"/>
              <a:ea typeface="+mj-ea"/>
              <a:cs typeface="+mj-cs"/>
            </a:endParaRPr>
          </a:p>
          <a:p>
            <a:pPr marL="171450" marR="0" lvl="0" indent="-171450" algn="l" defTabSz="914400" rtl="0" eaLnBrk="1" fontAlgn="auto" latinLnBrk="0" hangingPunct="1">
              <a:lnSpc>
                <a:spcPct val="100000"/>
              </a:lnSpc>
              <a:spcBef>
                <a:spcPct val="0"/>
              </a:spcBef>
              <a:spcAft>
                <a:spcPts val="0"/>
              </a:spcAft>
              <a:buClrTx/>
              <a:buSzTx/>
              <a:buFont typeface="Wingdings" pitchFamily="2" charset="2"/>
              <a:buChar char="§"/>
              <a:tabLst/>
              <a:defRPr/>
            </a:pPr>
            <a:endParaRPr kumimoji="0" lang="ca-ES" sz="1000" b="0" i="0" u="none" strike="noStrike" kern="1200" cap="none" spc="0" normalizeH="0" baseline="0" dirty="0">
              <a:ln>
                <a:noFill/>
              </a:ln>
              <a:solidFill>
                <a:srgbClr val="2B0A3D"/>
              </a:solidFill>
              <a:effectLst/>
              <a:uLnTx/>
              <a:uFillTx/>
              <a:latin typeface="Ubuntu Light" panose="020B0304030602030204" pitchFamily="34" charset="0"/>
              <a:ea typeface="+mj-ea"/>
              <a:cs typeface="+mj-cs"/>
            </a:endParaRPr>
          </a:p>
        </p:txBody>
      </p:sp>
      <p:sp>
        <p:nvSpPr>
          <p:cNvPr id="20" name="Title 1">
            <a:extLst>
              <a:ext uri="{FF2B5EF4-FFF2-40B4-BE49-F238E27FC236}">
                <a16:creationId xmlns:a16="http://schemas.microsoft.com/office/drawing/2014/main" id="{AAB05A72-3B1D-CE4D-93E3-39767203898D}"/>
              </a:ext>
            </a:extLst>
          </p:cNvPr>
          <p:cNvSpPr txBox="1">
            <a:spLocks/>
          </p:cNvSpPr>
          <p:nvPr/>
        </p:nvSpPr>
        <p:spPr>
          <a:xfrm>
            <a:off x="6111241" y="4059426"/>
            <a:ext cx="2264462" cy="479107"/>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ES_tradnl" sz="1800" b="1" i="0" u="none" strike="noStrike" kern="1200" cap="none" spc="0" normalizeH="0" baseline="0" noProof="0" dirty="0" err="1">
                <a:ln>
                  <a:noFill/>
                </a:ln>
                <a:solidFill>
                  <a:srgbClr val="2B0A3D"/>
                </a:solidFill>
                <a:effectLst/>
                <a:uLnTx/>
                <a:uFillTx/>
                <a:latin typeface="Ubuntu" panose="020B0504030602030204" pitchFamily="34" charset="0"/>
                <a:ea typeface="+mj-ea"/>
                <a:cs typeface="+mj-cs"/>
              </a:rPr>
              <a:t>Dashboard</a:t>
            </a:r>
            <a:r>
              <a:rPr kumimoji="0" lang="es-ES_tradnl" sz="1800" b="1" i="0" u="none" strike="noStrike" kern="1200" cap="none" spc="0" normalizeH="0" baseline="0" noProof="0" dirty="0">
                <a:ln>
                  <a:noFill/>
                </a:ln>
                <a:solidFill>
                  <a:srgbClr val="2B0A3D"/>
                </a:solidFill>
                <a:effectLst/>
                <a:uLnTx/>
                <a:uFillTx/>
                <a:latin typeface="Ubuntu" panose="020B0504030602030204" pitchFamily="34" charset="0"/>
                <a:ea typeface="+mj-ea"/>
                <a:cs typeface="+mj-cs"/>
              </a:rPr>
              <a:t> de análisis</a:t>
            </a:r>
          </a:p>
        </p:txBody>
      </p:sp>
      <p:sp>
        <p:nvSpPr>
          <p:cNvPr id="21" name="Title 1">
            <a:extLst>
              <a:ext uri="{FF2B5EF4-FFF2-40B4-BE49-F238E27FC236}">
                <a16:creationId xmlns:a16="http://schemas.microsoft.com/office/drawing/2014/main" id="{87AFB1A2-89D5-6A49-8A64-8486837B1B2E}"/>
              </a:ext>
            </a:extLst>
          </p:cNvPr>
          <p:cNvSpPr txBox="1">
            <a:spLocks/>
          </p:cNvSpPr>
          <p:nvPr/>
        </p:nvSpPr>
        <p:spPr>
          <a:xfrm>
            <a:off x="6096000" y="4847437"/>
            <a:ext cx="2526282" cy="1575483"/>
          </a:xfrm>
          <a:prstGeom prst="rect">
            <a:avLst/>
          </a:prstGeom>
        </p:spPr>
        <p:txBody>
          <a:bodyPr vert="horz" lIns="0" tIns="0" rIns="0" bIns="0" rtlCol="0" anchor="t">
            <a:normAutofit/>
          </a:bodyPr>
          <a:lstStyle>
            <a:defPPr>
              <a:defRPr lang="en-US"/>
            </a:defPPr>
            <a:lvl1pPr>
              <a:lnSpc>
                <a:spcPct val="90000"/>
              </a:lnSpc>
              <a:spcBef>
                <a:spcPct val="0"/>
              </a:spcBef>
              <a:buNone/>
              <a:defRPr sz="11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ES_tradnl" sz="1100" b="0" i="0" u="none" strike="noStrike" kern="1200" cap="none" spc="0" normalizeH="0" baseline="0" noProof="0" dirty="0">
                <a:ln>
                  <a:noFill/>
                </a:ln>
                <a:solidFill>
                  <a:srgbClr val="2B0A3D"/>
                </a:solidFill>
                <a:effectLst/>
                <a:uLnTx/>
                <a:uFillTx/>
                <a:latin typeface="Ubuntu"/>
                <a:ea typeface="+mj-ea"/>
                <a:cs typeface="+mj-cs"/>
              </a:rPr>
              <a:t>Como resultado, se presenta un </a:t>
            </a:r>
            <a:r>
              <a:rPr kumimoji="0" lang="es-ES_tradnl" sz="1100" b="0" i="0" u="none" strike="noStrike" kern="1200" cap="none" spc="0" normalizeH="0" baseline="0" noProof="0" dirty="0" err="1">
                <a:ln>
                  <a:noFill/>
                </a:ln>
                <a:solidFill>
                  <a:srgbClr val="2B0A3D"/>
                </a:solidFill>
                <a:effectLst/>
                <a:uLnTx/>
                <a:uFillTx/>
                <a:latin typeface="Ubuntu"/>
                <a:ea typeface="+mj-ea"/>
                <a:cs typeface="+mj-cs"/>
              </a:rPr>
              <a:t>dashboard</a:t>
            </a:r>
            <a:r>
              <a:rPr kumimoji="0" lang="es-ES_tradnl" sz="1100" b="0" i="0" u="none" strike="noStrike" kern="1200" cap="none" spc="0" normalizeH="0" baseline="0" noProof="0" dirty="0">
                <a:ln>
                  <a:noFill/>
                </a:ln>
                <a:solidFill>
                  <a:srgbClr val="2B0A3D"/>
                </a:solidFill>
                <a:effectLst/>
                <a:uLnTx/>
                <a:uFillTx/>
                <a:latin typeface="Ubuntu"/>
                <a:ea typeface="+mj-ea"/>
                <a:cs typeface="+mj-cs"/>
              </a:rPr>
              <a:t> con la lista de pares de casos de prueba y defectos con alta similitud, para enfocarse en la detección de elementos duplicados, y depurar así los defectos a corregir y los casos de prueba a ejecutar. El </a:t>
            </a:r>
            <a:r>
              <a:rPr kumimoji="0" lang="es-ES_tradnl" sz="1100" b="0" i="0" u="none" strike="noStrike" kern="1200" cap="none" spc="0" normalizeH="0" baseline="0" noProof="0" dirty="0" err="1">
                <a:ln>
                  <a:noFill/>
                </a:ln>
                <a:solidFill>
                  <a:srgbClr val="2B0A3D"/>
                </a:solidFill>
                <a:effectLst/>
                <a:uLnTx/>
                <a:uFillTx/>
                <a:latin typeface="Ubuntu"/>
                <a:ea typeface="+mj-ea"/>
                <a:cs typeface="+mj-cs"/>
              </a:rPr>
              <a:t>dashboard</a:t>
            </a:r>
            <a:r>
              <a:rPr kumimoji="0" lang="es-ES_tradnl" sz="1100" b="0" i="0" u="none" strike="noStrike" kern="1200" cap="none" spc="0" normalizeH="0" baseline="0" noProof="0" dirty="0">
                <a:ln>
                  <a:noFill/>
                </a:ln>
                <a:solidFill>
                  <a:srgbClr val="2B0A3D"/>
                </a:solidFill>
                <a:effectLst/>
                <a:uLnTx/>
                <a:uFillTx/>
                <a:latin typeface="Ubuntu"/>
                <a:ea typeface="+mj-ea"/>
                <a:cs typeface="+mj-cs"/>
              </a:rPr>
              <a:t> es dinámico y permite afinar el grado de similitud.</a:t>
            </a:r>
          </a:p>
        </p:txBody>
      </p:sp>
      <p:pic>
        <p:nvPicPr>
          <p:cNvPr id="4" name="Imagen 3">
            <a:extLst>
              <a:ext uri="{FF2B5EF4-FFF2-40B4-BE49-F238E27FC236}">
                <a16:creationId xmlns:a16="http://schemas.microsoft.com/office/drawing/2014/main" id="{C1F95144-3475-5B4A-A9C6-AA767B4139B7}"/>
              </a:ext>
            </a:extLst>
          </p:cNvPr>
          <p:cNvPicPr>
            <a:picLocks noChangeAspect="1"/>
          </p:cNvPicPr>
          <p:nvPr/>
        </p:nvPicPr>
        <p:blipFill>
          <a:blip r:embed="rId5"/>
          <a:stretch>
            <a:fillRect/>
          </a:stretch>
        </p:blipFill>
        <p:spPr>
          <a:xfrm>
            <a:off x="8905037" y="2109840"/>
            <a:ext cx="2918561" cy="1544693"/>
          </a:xfrm>
          <a:prstGeom prst="rect">
            <a:avLst/>
          </a:prstGeom>
        </p:spPr>
      </p:pic>
    </p:spTree>
    <p:extLst>
      <p:ext uri="{BB962C8B-B14F-4D97-AF65-F5344CB8AC3E}">
        <p14:creationId xmlns:p14="http://schemas.microsoft.com/office/powerpoint/2010/main" val="33786892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6" name="Picture 102957">
            <a:extLst>
              <a:ext uri="{FF2B5EF4-FFF2-40B4-BE49-F238E27FC236}">
                <a16:creationId xmlns:a16="http://schemas.microsoft.com/office/drawing/2014/main" id="{D11F1EFA-806C-874C-9927-ADD643ACBE1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3601824" y="1107256"/>
            <a:ext cx="1868076" cy="1560154"/>
          </a:xfrm>
          <a:prstGeom prst="rect">
            <a:avLst/>
          </a:prstGeom>
        </p:spPr>
      </p:pic>
      <p:sp>
        <p:nvSpPr>
          <p:cNvPr id="134" name="Title 1">
            <a:extLst>
              <a:ext uri="{FF2B5EF4-FFF2-40B4-BE49-F238E27FC236}">
                <a16:creationId xmlns:a16="http://schemas.microsoft.com/office/drawing/2014/main" id="{C8B1C3C0-2E22-3047-9432-F7C45CCF111E}"/>
              </a:ext>
            </a:extLst>
          </p:cNvPr>
          <p:cNvSpPr txBox="1">
            <a:spLocks/>
          </p:cNvSpPr>
          <p:nvPr/>
        </p:nvSpPr>
        <p:spPr>
          <a:xfrm>
            <a:off x="442428" y="2109840"/>
            <a:ext cx="2977720" cy="944253"/>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L="171450" marR="0" lvl="0" indent="-171450" algn="l" defTabSz="914400" rtl="0" eaLnBrk="1" fontAlgn="auto" latinLnBrk="0" hangingPunct="1">
              <a:lnSpc>
                <a:spcPct val="100000"/>
              </a:lnSpc>
              <a:spcBef>
                <a:spcPct val="0"/>
              </a:spcBef>
              <a:spcAft>
                <a:spcPts val="0"/>
              </a:spcAft>
              <a:buClrTx/>
              <a:buSzTx/>
              <a:buFont typeface="Wingdings" pitchFamily="2" charset="2"/>
              <a:buChar char="§"/>
              <a:tabLst/>
              <a:defRPr/>
            </a:pPr>
            <a:endParaRPr kumimoji="0" lang="en-US" sz="1200" b="0" i="0" u="none" strike="noStrike" kern="1200" cap="none" spc="0" normalizeH="0" baseline="0" noProof="0">
              <a:ln>
                <a:noFill/>
              </a:ln>
              <a:solidFill>
                <a:srgbClr val="FFFFFF"/>
              </a:solidFill>
              <a:effectLst/>
              <a:uLnTx/>
              <a:uFillTx/>
              <a:latin typeface="Ubuntu Light" panose="020B0304030602030204" pitchFamily="34" charset="0"/>
              <a:ea typeface="+mj-ea"/>
              <a:cs typeface="+mj-cs"/>
            </a:endParaRPr>
          </a:p>
        </p:txBody>
      </p:sp>
      <p:sp>
        <p:nvSpPr>
          <p:cNvPr id="135" name="Title 1">
            <a:extLst>
              <a:ext uri="{FF2B5EF4-FFF2-40B4-BE49-F238E27FC236}">
                <a16:creationId xmlns:a16="http://schemas.microsoft.com/office/drawing/2014/main" id="{607DF644-DB64-CC44-97D6-69D5A0F708B6}"/>
              </a:ext>
            </a:extLst>
          </p:cNvPr>
          <p:cNvSpPr txBox="1">
            <a:spLocks/>
          </p:cNvSpPr>
          <p:nvPr/>
        </p:nvSpPr>
        <p:spPr>
          <a:xfrm>
            <a:off x="454694" y="2981209"/>
            <a:ext cx="2989985" cy="944253"/>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L="171450" marR="0" lvl="0" indent="-171450" algn="l" defTabSz="914400" rtl="0" eaLnBrk="1" fontAlgn="auto" latinLnBrk="0" hangingPunct="1">
              <a:lnSpc>
                <a:spcPct val="100000"/>
              </a:lnSpc>
              <a:spcBef>
                <a:spcPct val="0"/>
              </a:spcBef>
              <a:spcAft>
                <a:spcPts val="0"/>
              </a:spcAft>
              <a:buClrTx/>
              <a:buSzTx/>
              <a:buFont typeface="Wingdings" pitchFamily="2" charset="2"/>
              <a:buChar char="§"/>
              <a:tabLst/>
              <a:defRPr/>
            </a:pPr>
            <a:endParaRPr kumimoji="0" lang="en-US" sz="1200" b="0" i="0" u="none" strike="noStrike" kern="1200" cap="none" spc="0" normalizeH="0" baseline="0" noProof="0">
              <a:ln>
                <a:noFill/>
              </a:ln>
              <a:solidFill>
                <a:srgbClr val="FFFFFF"/>
              </a:solidFill>
              <a:effectLst/>
              <a:uLnTx/>
              <a:uFillTx/>
              <a:latin typeface="Ubuntu Light" panose="020B0304030602030204" pitchFamily="34" charset="0"/>
              <a:ea typeface="+mj-ea"/>
              <a:cs typeface="+mj-cs"/>
            </a:endParaRPr>
          </a:p>
        </p:txBody>
      </p:sp>
      <p:sp>
        <p:nvSpPr>
          <p:cNvPr id="137" name="Title 1">
            <a:extLst>
              <a:ext uri="{FF2B5EF4-FFF2-40B4-BE49-F238E27FC236}">
                <a16:creationId xmlns:a16="http://schemas.microsoft.com/office/drawing/2014/main" id="{10EBAEB8-B6E4-AB44-858C-1602EAC40F46}"/>
              </a:ext>
            </a:extLst>
          </p:cNvPr>
          <p:cNvSpPr txBox="1">
            <a:spLocks/>
          </p:cNvSpPr>
          <p:nvPr/>
        </p:nvSpPr>
        <p:spPr>
          <a:xfrm>
            <a:off x="469857" y="5778920"/>
            <a:ext cx="2977720" cy="944253"/>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L="171450" marR="0" lvl="0" indent="-171450" algn="l" defTabSz="914400" rtl="0" eaLnBrk="1" fontAlgn="auto" latinLnBrk="0" hangingPunct="1">
              <a:lnSpc>
                <a:spcPct val="100000"/>
              </a:lnSpc>
              <a:spcBef>
                <a:spcPct val="0"/>
              </a:spcBef>
              <a:spcAft>
                <a:spcPts val="0"/>
              </a:spcAft>
              <a:buClrTx/>
              <a:buSzTx/>
              <a:buFont typeface="Wingdings" pitchFamily="2" charset="2"/>
              <a:buChar char="§"/>
              <a:tabLst/>
              <a:defRPr/>
            </a:pPr>
            <a:endParaRPr kumimoji="0" lang="en-US" sz="1200" b="0" i="0" u="none" strike="noStrike" kern="1200" cap="none" spc="0" normalizeH="0" baseline="0" noProof="0">
              <a:ln>
                <a:noFill/>
              </a:ln>
              <a:solidFill>
                <a:srgbClr val="FFFFFF"/>
              </a:solidFill>
              <a:effectLst/>
              <a:uLnTx/>
              <a:uFillTx/>
              <a:latin typeface="Ubuntu Light" panose="020B0304030602030204" pitchFamily="34" charset="0"/>
              <a:ea typeface="+mj-ea"/>
              <a:cs typeface="+mj-cs"/>
            </a:endParaRPr>
          </a:p>
        </p:txBody>
      </p:sp>
      <p:pic>
        <p:nvPicPr>
          <p:cNvPr id="143" name="Picture 11">
            <a:extLst>
              <a:ext uri="{FF2B5EF4-FFF2-40B4-BE49-F238E27FC236}">
                <a16:creationId xmlns:a16="http://schemas.microsoft.com/office/drawing/2014/main" id="{DF9C26DD-2DEA-074B-AB08-9058DCD5DF9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11909" y="3716293"/>
            <a:ext cx="1507764" cy="1502618"/>
          </a:xfrm>
          <a:prstGeom prst="rect">
            <a:avLst/>
          </a:prstGeom>
        </p:spPr>
      </p:pic>
      <p:sp>
        <p:nvSpPr>
          <p:cNvPr id="7" name="Marcador de texto 6">
            <a:extLst>
              <a:ext uri="{FF2B5EF4-FFF2-40B4-BE49-F238E27FC236}">
                <a16:creationId xmlns:a16="http://schemas.microsoft.com/office/drawing/2014/main" id="{26238EA9-9938-4874-9475-616A87024164}"/>
              </a:ext>
            </a:extLst>
          </p:cNvPr>
          <p:cNvSpPr>
            <a:spLocks noGrp="1"/>
          </p:cNvSpPr>
          <p:nvPr>
            <p:ph type="body" sz="quarter" idx="10"/>
          </p:nvPr>
        </p:nvSpPr>
        <p:spPr>
          <a:xfrm>
            <a:off x="10095668" y="4697366"/>
            <a:ext cx="1785881" cy="1806269"/>
          </a:xfrm>
        </p:spPr>
        <p:txBody>
          <a:bodyPr/>
          <a:lstStyle/>
          <a:p>
            <a:r>
              <a:rPr lang="es-ES_tradnl" dirty="0"/>
              <a:t>Aplicable a cualquier tipo de proyecto en el que se quiere mantener un set de pruebas de regresión actualizado</a:t>
            </a:r>
          </a:p>
        </p:txBody>
      </p:sp>
      <p:sp>
        <p:nvSpPr>
          <p:cNvPr id="6" name="Título 5">
            <a:extLst>
              <a:ext uri="{FF2B5EF4-FFF2-40B4-BE49-F238E27FC236}">
                <a16:creationId xmlns:a16="http://schemas.microsoft.com/office/drawing/2014/main" id="{3F4FFB4B-8809-40C8-B566-1F95C4345C87}"/>
              </a:ext>
            </a:extLst>
          </p:cNvPr>
          <p:cNvSpPr>
            <a:spLocks noGrp="1"/>
          </p:cNvSpPr>
          <p:nvPr>
            <p:ph type="title"/>
          </p:nvPr>
        </p:nvSpPr>
        <p:spPr>
          <a:xfrm>
            <a:off x="696022" y="601781"/>
            <a:ext cx="3135198" cy="1747879"/>
          </a:xfrm>
        </p:spPr>
        <p:txBody>
          <a:bodyPr/>
          <a:lstStyle/>
          <a:p>
            <a:r>
              <a:rPr lang="es-ES" sz="2800" dirty="0"/>
              <a:t>CognitiveQA – </a:t>
            </a:r>
            <a:r>
              <a:rPr lang="es-ES" dirty="0"/>
              <a:t>Detección de pruebas de regresión</a:t>
            </a:r>
            <a:endParaRPr lang="en-GB" dirty="0"/>
          </a:p>
        </p:txBody>
      </p:sp>
      <p:pic>
        <p:nvPicPr>
          <p:cNvPr id="23" name="Imagen 22" descr="Imagen en blanco y negro de la luna&#10;&#10;Descripción generada automáticamente con confianza baja">
            <a:extLst>
              <a:ext uri="{FF2B5EF4-FFF2-40B4-BE49-F238E27FC236}">
                <a16:creationId xmlns:a16="http://schemas.microsoft.com/office/drawing/2014/main" id="{5CD469B9-1CA6-435F-82E4-761805E2B9A3}"/>
              </a:ext>
            </a:extLst>
          </p:cNvPr>
          <p:cNvPicPr>
            <a:picLocks noChangeAspect="1"/>
          </p:cNvPicPr>
          <p:nvPr/>
        </p:nvPicPr>
        <p:blipFill>
          <a:blip r:embed="rId4"/>
          <a:stretch>
            <a:fillRect/>
          </a:stretch>
        </p:blipFill>
        <p:spPr>
          <a:xfrm>
            <a:off x="9353550" y="3037877"/>
            <a:ext cx="2127732" cy="1189636"/>
          </a:xfrm>
          <a:prstGeom prst="rect">
            <a:avLst/>
          </a:prstGeom>
        </p:spPr>
      </p:pic>
      <p:pic>
        <p:nvPicPr>
          <p:cNvPr id="16" name="Imagen 15" descr="Imagen que contiene firmar, señal, parada, parado&#10;&#10;Descripción generada automáticamente">
            <a:extLst>
              <a:ext uri="{FF2B5EF4-FFF2-40B4-BE49-F238E27FC236}">
                <a16:creationId xmlns:a16="http://schemas.microsoft.com/office/drawing/2014/main" id="{751452E1-BA97-D243-8030-747B5C3E62CC}"/>
              </a:ext>
            </a:extLst>
          </p:cNvPr>
          <p:cNvPicPr>
            <a:picLocks noChangeAspect="1"/>
          </p:cNvPicPr>
          <p:nvPr/>
        </p:nvPicPr>
        <p:blipFill>
          <a:blip r:embed="rId5"/>
          <a:stretch>
            <a:fillRect/>
          </a:stretch>
        </p:blipFill>
        <p:spPr>
          <a:xfrm>
            <a:off x="696021" y="5851526"/>
            <a:ext cx="1606644" cy="763422"/>
          </a:xfrm>
          <a:prstGeom prst="rect">
            <a:avLst/>
          </a:prstGeom>
        </p:spPr>
      </p:pic>
      <p:sp>
        <p:nvSpPr>
          <p:cNvPr id="22" name="Title 1">
            <a:extLst>
              <a:ext uri="{FF2B5EF4-FFF2-40B4-BE49-F238E27FC236}">
                <a16:creationId xmlns:a16="http://schemas.microsoft.com/office/drawing/2014/main" id="{92E333D8-0693-494D-9441-74CAAB3904C1}"/>
              </a:ext>
            </a:extLst>
          </p:cNvPr>
          <p:cNvSpPr txBox="1">
            <a:spLocks/>
          </p:cNvSpPr>
          <p:nvPr/>
        </p:nvSpPr>
        <p:spPr>
          <a:xfrm>
            <a:off x="5214554" y="1508018"/>
            <a:ext cx="3633392" cy="137574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ES_tradnl" sz="1800" b="1" i="0" u="none" strike="noStrike" kern="1200" cap="none" spc="0" normalizeH="0" baseline="0" dirty="0">
                <a:ln>
                  <a:noFill/>
                </a:ln>
                <a:solidFill>
                  <a:srgbClr val="2B0A3D"/>
                </a:solidFill>
                <a:effectLst/>
                <a:uLnTx/>
                <a:uFillTx/>
                <a:latin typeface="Ubuntu" panose="020B0504030602030204" pitchFamily="34" charset="0"/>
                <a:ea typeface="+mj-ea"/>
                <a:cs typeface="+mj-cs"/>
              </a:rPr>
              <a:t>Modelo de análisis y aprendizaje para detectar pruebas de progresión que deberían pasar a ser pruebas de regresión</a:t>
            </a:r>
          </a:p>
        </p:txBody>
      </p:sp>
      <p:sp>
        <p:nvSpPr>
          <p:cNvPr id="24" name="Title 1">
            <a:extLst>
              <a:ext uri="{FF2B5EF4-FFF2-40B4-BE49-F238E27FC236}">
                <a16:creationId xmlns:a16="http://schemas.microsoft.com/office/drawing/2014/main" id="{8FE33C8C-E3A3-8F4F-90FE-0069FB15D4A8}"/>
              </a:ext>
            </a:extLst>
          </p:cNvPr>
          <p:cNvSpPr txBox="1">
            <a:spLocks/>
          </p:cNvSpPr>
          <p:nvPr/>
        </p:nvSpPr>
        <p:spPr>
          <a:xfrm>
            <a:off x="5928411" y="2662293"/>
            <a:ext cx="2861459" cy="1502618"/>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lvl="0"/>
            <a:r>
              <a:rPr lang="es-ES_tradnl" sz="1100" dirty="0">
                <a:solidFill>
                  <a:srgbClr val="2B0A3D"/>
                </a:solidFill>
                <a:latin typeface="Ubuntu"/>
              </a:rPr>
              <a:t>Modelo de analítica avanzada con aprendizaje automático para detectar pruebas que no están incluidas en la regresión y que, por su historial de ejecuciones y las áreas funcionales relacionadas, deberían pasar a formar parte del set de pruebas de regresión.</a:t>
            </a:r>
            <a:endParaRPr kumimoji="0" lang="es-ES_tradnl" sz="1100" b="0" i="0" u="none" strike="noStrike" kern="1200" cap="none" spc="0" normalizeH="0" baseline="0" dirty="0">
              <a:ln>
                <a:noFill/>
              </a:ln>
              <a:solidFill>
                <a:srgbClr val="2B0A3D"/>
              </a:solidFill>
              <a:effectLst/>
              <a:uLnTx/>
              <a:uFillTx/>
              <a:latin typeface="Ubuntu"/>
              <a:ea typeface="+mj-ea"/>
              <a:cs typeface="+mj-cs"/>
            </a:endParaRPr>
          </a:p>
        </p:txBody>
      </p:sp>
      <p:sp>
        <p:nvSpPr>
          <p:cNvPr id="26" name="Title 1">
            <a:extLst>
              <a:ext uri="{FF2B5EF4-FFF2-40B4-BE49-F238E27FC236}">
                <a16:creationId xmlns:a16="http://schemas.microsoft.com/office/drawing/2014/main" id="{23929AB4-1056-E143-B228-80553F9B03E9}"/>
              </a:ext>
            </a:extLst>
          </p:cNvPr>
          <p:cNvSpPr txBox="1">
            <a:spLocks/>
          </p:cNvSpPr>
          <p:nvPr/>
        </p:nvSpPr>
        <p:spPr>
          <a:xfrm>
            <a:off x="696021" y="3901765"/>
            <a:ext cx="3973677" cy="2413336"/>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R="0" lvl="0" algn="l" defTabSz="914400" rtl="0" eaLnBrk="1" fontAlgn="auto" latinLnBrk="0" hangingPunct="1">
              <a:lnSpc>
                <a:spcPct val="100000"/>
              </a:lnSpc>
              <a:spcBef>
                <a:spcPct val="0"/>
              </a:spcBef>
              <a:spcAft>
                <a:spcPts val="0"/>
              </a:spcAft>
              <a:buClrTx/>
              <a:buSzTx/>
              <a:tabLst/>
              <a:defRPr/>
            </a:pPr>
            <a:r>
              <a:rPr kumimoji="0" lang="es-ES_tradnl" sz="1600" i="0" u="none" strike="noStrike" kern="1200" cap="none" spc="0" normalizeH="0" baseline="0" dirty="0">
                <a:ln>
                  <a:noFill/>
                </a:ln>
                <a:solidFill>
                  <a:srgbClr val="2B0A3D"/>
                </a:solidFill>
                <a:effectLst/>
                <a:uLnTx/>
                <a:uFillTx/>
                <a:latin typeface="Ubuntu"/>
                <a:ea typeface="+mj-ea"/>
                <a:cs typeface="+mj-cs"/>
              </a:rPr>
              <a:t>Implementación de un </a:t>
            </a:r>
            <a:r>
              <a:rPr kumimoji="0" lang="es-ES_tradnl" sz="1600" b="1" i="0" u="none" strike="noStrike" kern="1200" cap="none" spc="0" normalizeH="0" baseline="0" dirty="0">
                <a:ln>
                  <a:noFill/>
                </a:ln>
                <a:solidFill>
                  <a:srgbClr val="2B0A3D"/>
                </a:solidFill>
                <a:effectLst/>
                <a:uLnTx/>
                <a:uFillTx/>
                <a:latin typeface="Ubuntu"/>
                <a:ea typeface="+mj-ea"/>
                <a:cs typeface="+mj-cs"/>
              </a:rPr>
              <a:t>modelo de detección de pruebas </a:t>
            </a:r>
            <a:r>
              <a:rPr kumimoji="0" lang="es-ES_tradnl" sz="1600" i="0" u="none" strike="noStrike" kern="1200" cap="none" spc="0" normalizeH="0" baseline="0" dirty="0">
                <a:ln>
                  <a:noFill/>
                </a:ln>
                <a:solidFill>
                  <a:srgbClr val="2B0A3D"/>
                </a:solidFill>
                <a:effectLst/>
                <a:uLnTx/>
                <a:uFillTx/>
                <a:latin typeface="Ubuntu"/>
                <a:ea typeface="+mj-ea"/>
                <a:cs typeface="+mj-cs"/>
              </a:rPr>
              <a:t>que potencialmente </a:t>
            </a:r>
            <a:r>
              <a:rPr kumimoji="0" lang="es-ES_tradnl" sz="1600" b="1" i="0" u="none" strike="noStrike" kern="1200" cap="none" spc="0" normalizeH="0" baseline="0" dirty="0">
                <a:ln>
                  <a:noFill/>
                </a:ln>
                <a:solidFill>
                  <a:srgbClr val="2B0A3D"/>
                </a:solidFill>
                <a:effectLst/>
                <a:uLnTx/>
                <a:uFillTx/>
                <a:latin typeface="Ubuntu"/>
                <a:ea typeface="+mj-ea"/>
                <a:cs typeface="+mj-cs"/>
              </a:rPr>
              <a:t>se deberían añadir al conjunto de pruebas de regresión</a:t>
            </a:r>
            <a:r>
              <a:rPr kumimoji="0" lang="es-ES_tradnl" sz="1600" i="0" u="none" strike="noStrike" kern="1200" cap="none" spc="0" normalizeH="0" baseline="0" dirty="0">
                <a:ln>
                  <a:noFill/>
                </a:ln>
                <a:solidFill>
                  <a:srgbClr val="2B0A3D"/>
                </a:solidFill>
                <a:effectLst/>
                <a:uLnTx/>
                <a:uFillTx/>
                <a:latin typeface="Ubuntu"/>
                <a:ea typeface="+mj-ea"/>
                <a:cs typeface="+mj-cs"/>
              </a:rPr>
              <a:t>, atendiendo a su historial de ejecuciones y su capacidad de abordar áreas clave de una aplicación software bajo prueba.</a:t>
            </a:r>
            <a:endParaRPr kumimoji="0" lang="es-ES_tradnl" sz="1600" b="1" i="0" u="none" strike="noStrike" kern="1200" cap="none" spc="0" normalizeH="0" baseline="0" dirty="0">
              <a:ln>
                <a:noFill/>
              </a:ln>
              <a:solidFill>
                <a:srgbClr val="2B0A3D"/>
              </a:solidFill>
              <a:effectLst/>
              <a:uLnTx/>
              <a:uFillTx/>
              <a:latin typeface="Ubuntu"/>
              <a:ea typeface="+mj-ea"/>
              <a:cs typeface="+mj-cs"/>
            </a:endParaRPr>
          </a:p>
          <a:p>
            <a:pPr marR="0" lvl="0" algn="l" defTabSz="914400" rtl="0" eaLnBrk="1" fontAlgn="auto" latinLnBrk="0" hangingPunct="1">
              <a:lnSpc>
                <a:spcPct val="100000"/>
              </a:lnSpc>
              <a:spcBef>
                <a:spcPct val="0"/>
              </a:spcBef>
              <a:spcAft>
                <a:spcPts val="0"/>
              </a:spcAft>
              <a:buClrTx/>
              <a:buSzTx/>
              <a:tabLst/>
              <a:defRPr/>
            </a:pPr>
            <a:endParaRPr lang="es-ES_tradnl" sz="1200" b="1" dirty="0">
              <a:solidFill>
                <a:srgbClr val="2B0A3D"/>
              </a:solidFill>
              <a:latin typeface="Ubuntu"/>
            </a:endParaRPr>
          </a:p>
          <a:p>
            <a:pPr marL="171450" marR="0" lvl="0" indent="-171450" algn="l" defTabSz="914400" rtl="0" eaLnBrk="1" fontAlgn="auto" latinLnBrk="0" hangingPunct="1">
              <a:lnSpc>
                <a:spcPct val="100000"/>
              </a:lnSpc>
              <a:spcBef>
                <a:spcPct val="0"/>
              </a:spcBef>
              <a:spcAft>
                <a:spcPts val="0"/>
              </a:spcAft>
              <a:buClrTx/>
              <a:buSzTx/>
              <a:buFont typeface="Wingdings" pitchFamily="2" charset="2"/>
              <a:buChar char="§"/>
              <a:tabLst/>
              <a:defRPr/>
            </a:pPr>
            <a:endParaRPr kumimoji="0" lang="ca-ES" sz="1000" b="0" i="0" u="none" strike="noStrike" kern="1200" cap="none" spc="0" normalizeH="0" baseline="0" dirty="0">
              <a:ln>
                <a:noFill/>
              </a:ln>
              <a:solidFill>
                <a:srgbClr val="2B0A3D"/>
              </a:solidFill>
              <a:effectLst/>
              <a:uLnTx/>
              <a:uFillTx/>
              <a:latin typeface="Ubuntu Light" panose="020B0304030602030204" pitchFamily="34" charset="0"/>
              <a:ea typeface="+mj-ea"/>
              <a:cs typeface="+mj-cs"/>
            </a:endParaRPr>
          </a:p>
          <a:p>
            <a:pPr marL="171450" marR="0" lvl="0" indent="-171450" algn="l" defTabSz="914400" rtl="0" eaLnBrk="1" fontAlgn="auto" latinLnBrk="0" hangingPunct="1">
              <a:lnSpc>
                <a:spcPct val="100000"/>
              </a:lnSpc>
              <a:spcBef>
                <a:spcPct val="0"/>
              </a:spcBef>
              <a:spcAft>
                <a:spcPts val="0"/>
              </a:spcAft>
              <a:buClrTx/>
              <a:buSzTx/>
              <a:buFont typeface="Wingdings" pitchFamily="2" charset="2"/>
              <a:buChar char="§"/>
              <a:tabLst/>
              <a:defRPr/>
            </a:pPr>
            <a:endParaRPr kumimoji="0" lang="ca-ES" sz="1000" b="0" i="0" u="none" strike="noStrike" kern="1200" cap="none" spc="0" normalizeH="0" baseline="0" dirty="0">
              <a:ln>
                <a:noFill/>
              </a:ln>
              <a:solidFill>
                <a:srgbClr val="2B0A3D"/>
              </a:solidFill>
              <a:effectLst/>
              <a:uLnTx/>
              <a:uFillTx/>
              <a:latin typeface="Ubuntu Light" panose="020B0304030602030204" pitchFamily="34" charset="0"/>
              <a:ea typeface="+mj-ea"/>
              <a:cs typeface="+mj-cs"/>
            </a:endParaRPr>
          </a:p>
        </p:txBody>
      </p:sp>
      <p:sp>
        <p:nvSpPr>
          <p:cNvPr id="27" name="Title 1">
            <a:extLst>
              <a:ext uri="{FF2B5EF4-FFF2-40B4-BE49-F238E27FC236}">
                <a16:creationId xmlns:a16="http://schemas.microsoft.com/office/drawing/2014/main" id="{D7260078-8F4F-B64A-AC30-0D345D51711F}"/>
              </a:ext>
            </a:extLst>
          </p:cNvPr>
          <p:cNvSpPr txBox="1">
            <a:spLocks/>
          </p:cNvSpPr>
          <p:nvPr/>
        </p:nvSpPr>
        <p:spPr>
          <a:xfrm>
            <a:off x="6111241" y="4059426"/>
            <a:ext cx="2410704" cy="479107"/>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ES_tradnl" sz="1800" b="1" i="0" u="none" strike="noStrike" kern="1200" cap="none" spc="0" normalizeH="0" baseline="0" noProof="0" dirty="0" err="1">
                <a:ln>
                  <a:noFill/>
                </a:ln>
                <a:solidFill>
                  <a:srgbClr val="2B0A3D"/>
                </a:solidFill>
                <a:effectLst/>
                <a:uLnTx/>
                <a:uFillTx/>
                <a:latin typeface="Ubuntu" panose="020B0504030602030204" pitchFamily="34" charset="0"/>
                <a:ea typeface="+mj-ea"/>
                <a:cs typeface="+mj-cs"/>
              </a:rPr>
              <a:t>Dashboard</a:t>
            </a:r>
            <a:r>
              <a:rPr kumimoji="0" lang="es-ES_tradnl" sz="1800" b="1" i="0" u="none" strike="noStrike" kern="1200" cap="none" spc="0" normalizeH="0" baseline="0" noProof="0" dirty="0">
                <a:ln>
                  <a:noFill/>
                </a:ln>
                <a:solidFill>
                  <a:srgbClr val="2B0A3D"/>
                </a:solidFill>
                <a:effectLst/>
                <a:uLnTx/>
                <a:uFillTx/>
                <a:latin typeface="Ubuntu" panose="020B0504030602030204" pitchFamily="34" charset="0"/>
                <a:ea typeface="+mj-ea"/>
                <a:cs typeface="+mj-cs"/>
              </a:rPr>
              <a:t> de resultados</a:t>
            </a:r>
          </a:p>
        </p:txBody>
      </p:sp>
      <p:sp>
        <p:nvSpPr>
          <p:cNvPr id="28" name="Title 1">
            <a:extLst>
              <a:ext uri="{FF2B5EF4-FFF2-40B4-BE49-F238E27FC236}">
                <a16:creationId xmlns:a16="http://schemas.microsoft.com/office/drawing/2014/main" id="{B9E60A7A-0519-CC42-AE23-AA224E921835}"/>
              </a:ext>
            </a:extLst>
          </p:cNvPr>
          <p:cNvSpPr txBox="1">
            <a:spLocks/>
          </p:cNvSpPr>
          <p:nvPr/>
        </p:nvSpPr>
        <p:spPr>
          <a:xfrm>
            <a:off x="6096000" y="4847437"/>
            <a:ext cx="2526282" cy="1575483"/>
          </a:xfrm>
          <a:prstGeom prst="rect">
            <a:avLst/>
          </a:prstGeom>
        </p:spPr>
        <p:txBody>
          <a:bodyPr vert="horz" lIns="0" tIns="0" rIns="0" bIns="0" rtlCol="0" anchor="t">
            <a:normAutofit/>
          </a:bodyPr>
          <a:lstStyle>
            <a:defPPr>
              <a:defRPr lang="en-US"/>
            </a:defPPr>
            <a:lvl1pPr>
              <a:lnSpc>
                <a:spcPct val="90000"/>
              </a:lnSpc>
              <a:spcBef>
                <a:spcPct val="0"/>
              </a:spcBef>
              <a:buNone/>
              <a:defRPr sz="11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ES_tradnl" sz="1100" b="0" i="0" u="none" strike="noStrike" kern="1200" cap="none" spc="0" normalizeH="0" baseline="0" noProof="0" dirty="0">
                <a:ln>
                  <a:noFill/>
                </a:ln>
                <a:solidFill>
                  <a:srgbClr val="2B0A3D"/>
                </a:solidFill>
                <a:effectLst/>
                <a:uLnTx/>
                <a:uFillTx/>
                <a:latin typeface="Ubuntu"/>
                <a:ea typeface="+mj-ea"/>
                <a:cs typeface="+mj-cs"/>
              </a:rPr>
              <a:t>Como resultado, se presenta un </a:t>
            </a:r>
            <a:r>
              <a:rPr kumimoji="0" lang="es-ES_tradnl" sz="1100" b="0" i="0" u="none" strike="noStrike" kern="1200" cap="none" spc="0" normalizeH="0" baseline="0" noProof="0" dirty="0" err="1">
                <a:ln>
                  <a:noFill/>
                </a:ln>
                <a:solidFill>
                  <a:srgbClr val="2B0A3D"/>
                </a:solidFill>
                <a:effectLst/>
                <a:uLnTx/>
                <a:uFillTx/>
                <a:latin typeface="Ubuntu"/>
                <a:ea typeface="+mj-ea"/>
                <a:cs typeface="+mj-cs"/>
              </a:rPr>
              <a:t>dashboard</a:t>
            </a:r>
            <a:r>
              <a:rPr kumimoji="0" lang="es-ES_tradnl" sz="1100" b="0" i="0" u="none" strike="noStrike" kern="1200" cap="none" spc="0" normalizeH="0" baseline="0" noProof="0" dirty="0">
                <a:ln>
                  <a:noFill/>
                </a:ln>
                <a:solidFill>
                  <a:srgbClr val="2B0A3D"/>
                </a:solidFill>
                <a:effectLst/>
                <a:uLnTx/>
                <a:uFillTx/>
                <a:latin typeface="Ubuntu"/>
                <a:ea typeface="+mj-ea"/>
                <a:cs typeface="+mj-cs"/>
              </a:rPr>
              <a:t> de resultados con un cuadro por niveles de riesgo y área funcional, así como un gráfico de evolución y predicción del riesgo.</a:t>
            </a:r>
          </a:p>
        </p:txBody>
      </p:sp>
      <p:pic>
        <p:nvPicPr>
          <p:cNvPr id="3" name="Imagen 2">
            <a:extLst>
              <a:ext uri="{FF2B5EF4-FFF2-40B4-BE49-F238E27FC236}">
                <a16:creationId xmlns:a16="http://schemas.microsoft.com/office/drawing/2014/main" id="{765E36E4-444D-8E42-9626-317AB7B1BF93}"/>
              </a:ext>
            </a:extLst>
          </p:cNvPr>
          <p:cNvPicPr>
            <a:picLocks noChangeAspect="1"/>
          </p:cNvPicPr>
          <p:nvPr/>
        </p:nvPicPr>
        <p:blipFill>
          <a:blip r:embed="rId6"/>
          <a:stretch>
            <a:fillRect/>
          </a:stretch>
        </p:blipFill>
        <p:spPr>
          <a:xfrm>
            <a:off x="9067549" y="1876210"/>
            <a:ext cx="2894363" cy="1502618"/>
          </a:xfrm>
          <a:prstGeom prst="rect">
            <a:avLst/>
          </a:prstGeom>
        </p:spPr>
      </p:pic>
    </p:spTree>
    <p:extLst>
      <p:ext uri="{BB962C8B-B14F-4D97-AF65-F5344CB8AC3E}">
        <p14:creationId xmlns:p14="http://schemas.microsoft.com/office/powerpoint/2010/main" val="32741419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Title 1">
            <a:extLst>
              <a:ext uri="{FF2B5EF4-FFF2-40B4-BE49-F238E27FC236}">
                <a16:creationId xmlns:a16="http://schemas.microsoft.com/office/drawing/2014/main" id="{C29BCF16-F13D-A34C-9ED2-DD8F24441065}"/>
              </a:ext>
            </a:extLst>
          </p:cNvPr>
          <p:cNvSpPr txBox="1">
            <a:spLocks/>
          </p:cNvSpPr>
          <p:nvPr/>
        </p:nvSpPr>
        <p:spPr>
          <a:xfrm>
            <a:off x="5214554" y="1508018"/>
            <a:ext cx="3633392" cy="1456966"/>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ES_tradnl" sz="1800" b="1" i="0" u="none" strike="noStrike" kern="1200" cap="none" spc="0" normalizeH="0" baseline="0" dirty="0">
                <a:ln>
                  <a:noFill/>
                </a:ln>
                <a:solidFill>
                  <a:srgbClr val="2B0A3D"/>
                </a:solidFill>
                <a:effectLst/>
                <a:uLnTx/>
                <a:uFillTx/>
                <a:latin typeface="Ubuntu" panose="020B0504030602030204" pitchFamily="34" charset="0"/>
                <a:ea typeface="+mj-ea"/>
                <a:cs typeface="+mj-cs"/>
              </a:rPr>
              <a:t>Desarrollo de un </a:t>
            </a:r>
            <a:r>
              <a:rPr kumimoji="0" lang="es-ES_tradnl" sz="1800" b="1" i="0" u="none" strike="noStrike" kern="1200" cap="none" spc="0" normalizeH="0" baseline="0" dirty="0" err="1">
                <a:ln>
                  <a:noFill/>
                </a:ln>
                <a:solidFill>
                  <a:srgbClr val="2B0A3D"/>
                </a:solidFill>
                <a:effectLst/>
                <a:uLnTx/>
                <a:uFillTx/>
                <a:latin typeface="Ubuntu" panose="020B0504030602030204" pitchFamily="34" charset="0"/>
                <a:ea typeface="+mj-ea"/>
                <a:cs typeface="+mj-cs"/>
              </a:rPr>
              <a:t>chatbot</a:t>
            </a:r>
            <a:r>
              <a:rPr kumimoji="0" lang="es-ES_tradnl" sz="1800" b="1" i="0" u="none" strike="noStrike" kern="1200" cap="none" spc="0" normalizeH="0" baseline="0" dirty="0">
                <a:ln>
                  <a:noFill/>
                </a:ln>
                <a:solidFill>
                  <a:srgbClr val="2B0A3D"/>
                </a:solidFill>
                <a:effectLst/>
                <a:uLnTx/>
                <a:uFillTx/>
                <a:latin typeface="Ubuntu" panose="020B0504030602030204" pitchFamily="34" charset="0"/>
                <a:ea typeface="+mj-ea"/>
                <a:cs typeface="+mj-cs"/>
              </a:rPr>
              <a:t> personalizado para la asistencia a los ingenieros de calidad y la obtención de información sobre la calidad de un proyecto.</a:t>
            </a:r>
          </a:p>
        </p:txBody>
      </p:sp>
      <p:pic>
        <p:nvPicPr>
          <p:cNvPr id="106" name="Picture 102957">
            <a:extLst>
              <a:ext uri="{FF2B5EF4-FFF2-40B4-BE49-F238E27FC236}">
                <a16:creationId xmlns:a16="http://schemas.microsoft.com/office/drawing/2014/main" id="{D11F1EFA-806C-874C-9927-ADD643ACBE1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3601824" y="1107256"/>
            <a:ext cx="1868076" cy="1560154"/>
          </a:xfrm>
          <a:prstGeom prst="rect">
            <a:avLst/>
          </a:prstGeom>
        </p:spPr>
      </p:pic>
      <p:sp>
        <p:nvSpPr>
          <p:cNvPr id="110" name="Title 1">
            <a:extLst>
              <a:ext uri="{FF2B5EF4-FFF2-40B4-BE49-F238E27FC236}">
                <a16:creationId xmlns:a16="http://schemas.microsoft.com/office/drawing/2014/main" id="{FA0F6FD1-0ADF-D446-9B77-8460A9C6E81C}"/>
              </a:ext>
            </a:extLst>
          </p:cNvPr>
          <p:cNvSpPr txBox="1">
            <a:spLocks/>
          </p:cNvSpPr>
          <p:nvPr/>
        </p:nvSpPr>
        <p:spPr>
          <a:xfrm>
            <a:off x="5910395" y="2892119"/>
            <a:ext cx="2861459" cy="1502618"/>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lvl="0"/>
            <a:r>
              <a:rPr lang="es-ES_tradnl" sz="1100" dirty="0">
                <a:solidFill>
                  <a:srgbClr val="2B0A3D"/>
                </a:solidFill>
                <a:latin typeface="Ubuntu"/>
              </a:rPr>
              <a:t>Desarrollo de un </a:t>
            </a:r>
            <a:r>
              <a:rPr lang="es-ES_tradnl" sz="1100" dirty="0" err="1">
                <a:solidFill>
                  <a:srgbClr val="2B0A3D"/>
                </a:solidFill>
                <a:latin typeface="Ubuntu"/>
              </a:rPr>
              <a:t>chatbot</a:t>
            </a:r>
            <a:r>
              <a:rPr lang="es-ES_tradnl" sz="1100" dirty="0">
                <a:solidFill>
                  <a:srgbClr val="2B0A3D"/>
                </a:solidFill>
                <a:latin typeface="Ubuntu"/>
              </a:rPr>
              <a:t> en base al </a:t>
            </a:r>
            <a:r>
              <a:rPr lang="es-ES_tradnl" sz="1100" dirty="0" err="1">
                <a:solidFill>
                  <a:srgbClr val="2B0A3D"/>
                </a:solidFill>
                <a:latin typeface="Ubuntu"/>
              </a:rPr>
              <a:t>chatbot</a:t>
            </a:r>
            <a:r>
              <a:rPr lang="es-ES_tradnl" sz="1100" dirty="0">
                <a:solidFill>
                  <a:srgbClr val="2B0A3D"/>
                </a:solidFill>
                <a:latin typeface="Ubuntu"/>
              </a:rPr>
              <a:t> pre-desarrollado por </a:t>
            </a:r>
            <a:r>
              <a:rPr lang="es-ES_tradnl" sz="1100" dirty="0" err="1">
                <a:solidFill>
                  <a:srgbClr val="2B0A3D"/>
                </a:solidFill>
                <a:latin typeface="Ubuntu"/>
              </a:rPr>
              <a:t>Sogetilabs</a:t>
            </a:r>
            <a:r>
              <a:rPr lang="es-ES_tradnl" sz="1100" dirty="0">
                <a:solidFill>
                  <a:srgbClr val="2B0A3D"/>
                </a:solidFill>
                <a:latin typeface="Ubuntu"/>
              </a:rPr>
              <a:t> (llamado </a:t>
            </a:r>
            <a:r>
              <a:rPr lang="es-ES_tradnl" sz="1100" dirty="0" err="1">
                <a:solidFill>
                  <a:srgbClr val="2B0A3D"/>
                </a:solidFill>
                <a:latin typeface="Ubuntu"/>
              </a:rPr>
              <a:t>Wisey</a:t>
            </a:r>
            <a:r>
              <a:rPr lang="es-ES_tradnl" sz="1100" dirty="0">
                <a:solidFill>
                  <a:srgbClr val="2B0A3D"/>
                </a:solidFill>
                <a:latin typeface="Ubuntu"/>
              </a:rPr>
              <a:t>) para proveer asistencia automática a ingenieros de calidad y a los diversos </a:t>
            </a:r>
            <a:r>
              <a:rPr lang="es-ES_tradnl" sz="1100" dirty="0" err="1">
                <a:solidFill>
                  <a:srgbClr val="2B0A3D"/>
                </a:solidFill>
                <a:latin typeface="Ubuntu"/>
              </a:rPr>
              <a:t>stakeholders</a:t>
            </a:r>
            <a:r>
              <a:rPr lang="es-ES_tradnl" sz="1100" dirty="0">
                <a:solidFill>
                  <a:srgbClr val="2B0A3D"/>
                </a:solidFill>
                <a:latin typeface="Ubuntu"/>
              </a:rPr>
              <a:t> de un proyecto sobre la calidad de un proyecto.</a:t>
            </a:r>
            <a:endParaRPr kumimoji="0" lang="es-ES_tradnl" sz="1100" b="0" i="0" u="none" strike="noStrike" kern="1200" cap="none" spc="0" normalizeH="0" baseline="0" dirty="0">
              <a:ln>
                <a:noFill/>
              </a:ln>
              <a:solidFill>
                <a:srgbClr val="2B0A3D"/>
              </a:solidFill>
              <a:effectLst/>
              <a:uLnTx/>
              <a:uFillTx/>
              <a:latin typeface="Ubuntu"/>
              <a:ea typeface="+mj-ea"/>
              <a:cs typeface="+mj-cs"/>
            </a:endParaRPr>
          </a:p>
        </p:txBody>
      </p:sp>
      <p:sp>
        <p:nvSpPr>
          <p:cNvPr id="134" name="Title 1">
            <a:extLst>
              <a:ext uri="{FF2B5EF4-FFF2-40B4-BE49-F238E27FC236}">
                <a16:creationId xmlns:a16="http://schemas.microsoft.com/office/drawing/2014/main" id="{C8B1C3C0-2E22-3047-9432-F7C45CCF111E}"/>
              </a:ext>
            </a:extLst>
          </p:cNvPr>
          <p:cNvSpPr txBox="1">
            <a:spLocks/>
          </p:cNvSpPr>
          <p:nvPr/>
        </p:nvSpPr>
        <p:spPr>
          <a:xfrm>
            <a:off x="442428" y="2109840"/>
            <a:ext cx="2977720" cy="944253"/>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L="171450" marR="0" lvl="0" indent="-171450" algn="l" defTabSz="914400" rtl="0" eaLnBrk="1" fontAlgn="auto" latinLnBrk="0" hangingPunct="1">
              <a:lnSpc>
                <a:spcPct val="100000"/>
              </a:lnSpc>
              <a:spcBef>
                <a:spcPct val="0"/>
              </a:spcBef>
              <a:spcAft>
                <a:spcPts val="0"/>
              </a:spcAft>
              <a:buClrTx/>
              <a:buSzTx/>
              <a:buFont typeface="Wingdings" pitchFamily="2" charset="2"/>
              <a:buChar char="§"/>
              <a:tabLst/>
              <a:defRPr/>
            </a:pPr>
            <a:endParaRPr kumimoji="0" lang="en-US" sz="1200" b="0" i="0" u="none" strike="noStrike" kern="1200" cap="none" spc="0" normalizeH="0" baseline="0" noProof="0">
              <a:ln>
                <a:noFill/>
              </a:ln>
              <a:solidFill>
                <a:srgbClr val="FFFFFF"/>
              </a:solidFill>
              <a:effectLst/>
              <a:uLnTx/>
              <a:uFillTx/>
              <a:latin typeface="Ubuntu Light" panose="020B0304030602030204" pitchFamily="34" charset="0"/>
              <a:ea typeface="+mj-ea"/>
              <a:cs typeface="+mj-cs"/>
            </a:endParaRPr>
          </a:p>
        </p:txBody>
      </p:sp>
      <p:sp>
        <p:nvSpPr>
          <p:cNvPr id="135" name="Title 1">
            <a:extLst>
              <a:ext uri="{FF2B5EF4-FFF2-40B4-BE49-F238E27FC236}">
                <a16:creationId xmlns:a16="http://schemas.microsoft.com/office/drawing/2014/main" id="{607DF644-DB64-CC44-97D6-69D5A0F708B6}"/>
              </a:ext>
            </a:extLst>
          </p:cNvPr>
          <p:cNvSpPr txBox="1">
            <a:spLocks/>
          </p:cNvSpPr>
          <p:nvPr/>
        </p:nvSpPr>
        <p:spPr>
          <a:xfrm>
            <a:off x="454694" y="2981209"/>
            <a:ext cx="2989985" cy="944253"/>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L="171450" marR="0" lvl="0" indent="-171450" algn="l" defTabSz="914400" rtl="0" eaLnBrk="1" fontAlgn="auto" latinLnBrk="0" hangingPunct="1">
              <a:lnSpc>
                <a:spcPct val="100000"/>
              </a:lnSpc>
              <a:spcBef>
                <a:spcPct val="0"/>
              </a:spcBef>
              <a:spcAft>
                <a:spcPts val="0"/>
              </a:spcAft>
              <a:buClrTx/>
              <a:buSzTx/>
              <a:buFont typeface="Wingdings" pitchFamily="2" charset="2"/>
              <a:buChar char="§"/>
              <a:tabLst/>
              <a:defRPr/>
            </a:pPr>
            <a:endParaRPr kumimoji="0" lang="en-US" sz="1200" b="0" i="0" u="none" strike="noStrike" kern="1200" cap="none" spc="0" normalizeH="0" baseline="0" noProof="0">
              <a:ln>
                <a:noFill/>
              </a:ln>
              <a:solidFill>
                <a:srgbClr val="FFFFFF"/>
              </a:solidFill>
              <a:effectLst/>
              <a:uLnTx/>
              <a:uFillTx/>
              <a:latin typeface="Ubuntu Light" panose="020B0304030602030204" pitchFamily="34" charset="0"/>
              <a:ea typeface="+mj-ea"/>
              <a:cs typeface="+mj-cs"/>
            </a:endParaRPr>
          </a:p>
        </p:txBody>
      </p:sp>
      <p:sp>
        <p:nvSpPr>
          <p:cNvPr id="136" name="Title 1">
            <a:extLst>
              <a:ext uri="{FF2B5EF4-FFF2-40B4-BE49-F238E27FC236}">
                <a16:creationId xmlns:a16="http://schemas.microsoft.com/office/drawing/2014/main" id="{DB826FFD-A232-904E-9873-C7C004F36047}"/>
              </a:ext>
            </a:extLst>
          </p:cNvPr>
          <p:cNvSpPr txBox="1">
            <a:spLocks/>
          </p:cNvSpPr>
          <p:nvPr/>
        </p:nvSpPr>
        <p:spPr>
          <a:xfrm>
            <a:off x="696021" y="3901765"/>
            <a:ext cx="3973677" cy="2413336"/>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R="0" lvl="0" algn="l" defTabSz="914400" rtl="0" eaLnBrk="1" fontAlgn="auto" latinLnBrk="0" hangingPunct="1">
              <a:lnSpc>
                <a:spcPct val="100000"/>
              </a:lnSpc>
              <a:spcBef>
                <a:spcPct val="0"/>
              </a:spcBef>
              <a:spcAft>
                <a:spcPts val="0"/>
              </a:spcAft>
              <a:buClrTx/>
              <a:buSzTx/>
              <a:tabLst/>
              <a:defRPr/>
            </a:pPr>
            <a:r>
              <a:rPr kumimoji="0" lang="es-ES_tradnl" sz="1600" i="0" u="none" strike="noStrike" kern="1200" cap="none" spc="0" normalizeH="0" baseline="0" dirty="0">
                <a:ln>
                  <a:noFill/>
                </a:ln>
                <a:solidFill>
                  <a:srgbClr val="2B0A3D"/>
                </a:solidFill>
                <a:effectLst/>
                <a:uLnTx/>
                <a:uFillTx/>
                <a:latin typeface="Ubuntu"/>
                <a:ea typeface="+mj-ea"/>
                <a:cs typeface="+mj-cs"/>
              </a:rPr>
              <a:t>Desarrollo de un </a:t>
            </a:r>
            <a:r>
              <a:rPr kumimoji="0" lang="es-ES_tradnl" sz="1600" i="0" u="none" strike="noStrike" kern="1200" cap="none" spc="0" normalizeH="0" baseline="0" dirty="0" err="1">
                <a:ln>
                  <a:noFill/>
                </a:ln>
                <a:solidFill>
                  <a:srgbClr val="2B0A3D"/>
                </a:solidFill>
                <a:effectLst/>
                <a:uLnTx/>
                <a:uFillTx/>
                <a:latin typeface="Ubuntu"/>
                <a:ea typeface="+mj-ea"/>
                <a:cs typeface="+mj-cs"/>
              </a:rPr>
              <a:t>chatbot</a:t>
            </a:r>
            <a:r>
              <a:rPr kumimoji="0" lang="es-ES_tradnl" sz="1600" i="0" u="none" strike="noStrike" kern="1200" cap="none" spc="0" normalizeH="0" baseline="0" dirty="0">
                <a:ln>
                  <a:noFill/>
                </a:ln>
                <a:solidFill>
                  <a:srgbClr val="2B0A3D"/>
                </a:solidFill>
                <a:effectLst/>
                <a:uLnTx/>
                <a:uFillTx/>
                <a:latin typeface="Ubuntu"/>
                <a:ea typeface="+mj-ea"/>
                <a:cs typeface="+mj-cs"/>
              </a:rPr>
              <a:t> de asistencia a los ingenieros de calidad en una organización, basado en información sobre la metodología de </a:t>
            </a:r>
            <a:r>
              <a:rPr kumimoji="0" lang="es-ES_tradnl" sz="1600" i="0" u="none" strike="noStrike" kern="1200" cap="none" spc="0" normalizeH="0" baseline="0" dirty="0" err="1">
                <a:ln>
                  <a:noFill/>
                </a:ln>
                <a:solidFill>
                  <a:srgbClr val="2B0A3D"/>
                </a:solidFill>
                <a:effectLst/>
                <a:uLnTx/>
                <a:uFillTx/>
                <a:latin typeface="Ubuntu"/>
                <a:ea typeface="+mj-ea"/>
                <a:cs typeface="+mj-cs"/>
              </a:rPr>
              <a:t>testing</a:t>
            </a:r>
            <a:r>
              <a:rPr kumimoji="0" lang="es-ES_tradnl" sz="1600" i="0" u="none" strike="noStrike" kern="1200" cap="none" spc="0" normalizeH="0" baseline="0" dirty="0">
                <a:ln>
                  <a:noFill/>
                </a:ln>
                <a:solidFill>
                  <a:srgbClr val="2B0A3D"/>
                </a:solidFill>
                <a:effectLst/>
                <a:uLnTx/>
                <a:uFillTx/>
                <a:latin typeface="Ubuntu"/>
                <a:ea typeface="+mj-ea"/>
                <a:cs typeface="+mj-cs"/>
              </a:rPr>
              <a:t> y en otros modelos de análisis implementados por </a:t>
            </a:r>
            <a:r>
              <a:rPr kumimoji="0" lang="es-ES_tradnl" sz="1600" i="0" u="none" strike="noStrike" kern="1200" cap="none" spc="0" normalizeH="0" baseline="0" dirty="0" err="1">
                <a:ln>
                  <a:noFill/>
                </a:ln>
                <a:solidFill>
                  <a:srgbClr val="2B0A3D"/>
                </a:solidFill>
                <a:effectLst/>
                <a:uLnTx/>
                <a:uFillTx/>
                <a:latin typeface="Ubuntu"/>
                <a:ea typeface="+mj-ea"/>
                <a:cs typeface="+mj-cs"/>
              </a:rPr>
              <a:t>Cogntive</a:t>
            </a:r>
            <a:r>
              <a:rPr lang="es-ES_tradnl" sz="1600" dirty="0" err="1">
                <a:solidFill>
                  <a:srgbClr val="2B0A3D"/>
                </a:solidFill>
                <a:latin typeface="Ubuntu"/>
              </a:rPr>
              <a:t>QA</a:t>
            </a:r>
            <a:r>
              <a:rPr lang="es-ES_tradnl" sz="1600" dirty="0">
                <a:solidFill>
                  <a:srgbClr val="2B0A3D"/>
                </a:solidFill>
                <a:latin typeface="Ubuntu"/>
              </a:rPr>
              <a:t> o Quality </a:t>
            </a:r>
            <a:r>
              <a:rPr lang="es-ES_tradnl" sz="1600" dirty="0" err="1">
                <a:solidFill>
                  <a:srgbClr val="2B0A3D"/>
                </a:solidFill>
                <a:latin typeface="Ubuntu"/>
              </a:rPr>
              <a:t>Eye</a:t>
            </a:r>
            <a:r>
              <a:rPr lang="es-ES_tradnl" sz="1600" dirty="0">
                <a:solidFill>
                  <a:srgbClr val="2B0A3D"/>
                </a:solidFill>
                <a:latin typeface="Ubuntu"/>
              </a:rPr>
              <a:t>, para mostrar información y preguntar sobre el estado de calidad de un proyecto. Se puede integrar en </a:t>
            </a:r>
            <a:r>
              <a:rPr lang="es-ES_tradnl" sz="1600" dirty="0" err="1">
                <a:solidFill>
                  <a:srgbClr val="2B0A3D"/>
                </a:solidFill>
                <a:latin typeface="Ubuntu"/>
              </a:rPr>
              <a:t>Teams</a:t>
            </a:r>
            <a:r>
              <a:rPr lang="es-ES_tradnl" sz="1600" dirty="0">
                <a:solidFill>
                  <a:srgbClr val="2B0A3D"/>
                </a:solidFill>
                <a:latin typeface="Ubuntu"/>
              </a:rPr>
              <a:t> o tener un funcionamiento </a:t>
            </a:r>
            <a:r>
              <a:rPr lang="es-ES_tradnl" sz="1600" i="1" dirty="0" err="1">
                <a:solidFill>
                  <a:srgbClr val="2B0A3D"/>
                </a:solidFill>
                <a:latin typeface="Ubuntu"/>
              </a:rPr>
              <a:t>standalone</a:t>
            </a:r>
            <a:r>
              <a:rPr lang="es-ES_tradnl" sz="1600" dirty="0">
                <a:solidFill>
                  <a:srgbClr val="2B0A3D"/>
                </a:solidFill>
                <a:latin typeface="Ubuntu"/>
              </a:rPr>
              <a:t>.</a:t>
            </a:r>
            <a:endParaRPr kumimoji="0" lang="es-ES_tradnl" sz="1600" b="1" i="0" u="none" strike="noStrike" kern="1200" cap="none" spc="0" normalizeH="0" baseline="0" dirty="0">
              <a:ln>
                <a:noFill/>
              </a:ln>
              <a:solidFill>
                <a:srgbClr val="2B0A3D"/>
              </a:solidFill>
              <a:effectLst/>
              <a:uLnTx/>
              <a:uFillTx/>
              <a:latin typeface="Ubuntu"/>
              <a:ea typeface="+mj-ea"/>
              <a:cs typeface="+mj-cs"/>
            </a:endParaRPr>
          </a:p>
          <a:p>
            <a:pPr marR="0" lvl="0" algn="l" defTabSz="914400" rtl="0" eaLnBrk="1" fontAlgn="auto" latinLnBrk="0" hangingPunct="1">
              <a:lnSpc>
                <a:spcPct val="100000"/>
              </a:lnSpc>
              <a:spcBef>
                <a:spcPct val="0"/>
              </a:spcBef>
              <a:spcAft>
                <a:spcPts val="0"/>
              </a:spcAft>
              <a:buClrTx/>
              <a:buSzTx/>
              <a:tabLst/>
              <a:defRPr/>
            </a:pPr>
            <a:endParaRPr lang="es-ES_tradnl" sz="1200" b="1" dirty="0">
              <a:solidFill>
                <a:srgbClr val="2B0A3D"/>
              </a:solidFill>
              <a:latin typeface="Ubuntu"/>
            </a:endParaRPr>
          </a:p>
          <a:p>
            <a:pPr marL="171450" marR="0" lvl="0" indent="-171450" algn="l" defTabSz="914400" rtl="0" eaLnBrk="1" fontAlgn="auto" latinLnBrk="0" hangingPunct="1">
              <a:lnSpc>
                <a:spcPct val="100000"/>
              </a:lnSpc>
              <a:spcBef>
                <a:spcPct val="0"/>
              </a:spcBef>
              <a:spcAft>
                <a:spcPts val="0"/>
              </a:spcAft>
              <a:buClrTx/>
              <a:buSzTx/>
              <a:buFont typeface="Wingdings" pitchFamily="2" charset="2"/>
              <a:buChar char="§"/>
              <a:tabLst/>
              <a:defRPr/>
            </a:pPr>
            <a:endParaRPr kumimoji="0" lang="ca-ES" sz="1000" b="0" i="0" u="none" strike="noStrike" kern="1200" cap="none" spc="0" normalizeH="0" baseline="0" dirty="0">
              <a:ln>
                <a:noFill/>
              </a:ln>
              <a:solidFill>
                <a:srgbClr val="2B0A3D"/>
              </a:solidFill>
              <a:effectLst/>
              <a:uLnTx/>
              <a:uFillTx/>
              <a:latin typeface="Ubuntu Light" panose="020B0304030602030204" pitchFamily="34" charset="0"/>
              <a:ea typeface="+mj-ea"/>
              <a:cs typeface="+mj-cs"/>
            </a:endParaRPr>
          </a:p>
          <a:p>
            <a:pPr marL="171450" marR="0" lvl="0" indent="-171450" algn="l" defTabSz="914400" rtl="0" eaLnBrk="1" fontAlgn="auto" latinLnBrk="0" hangingPunct="1">
              <a:lnSpc>
                <a:spcPct val="100000"/>
              </a:lnSpc>
              <a:spcBef>
                <a:spcPct val="0"/>
              </a:spcBef>
              <a:spcAft>
                <a:spcPts val="0"/>
              </a:spcAft>
              <a:buClrTx/>
              <a:buSzTx/>
              <a:buFont typeface="Wingdings" pitchFamily="2" charset="2"/>
              <a:buChar char="§"/>
              <a:tabLst/>
              <a:defRPr/>
            </a:pPr>
            <a:endParaRPr kumimoji="0" lang="ca-ES" sz="1000" b="0" i="0" u="none" strike="noStrike" kern="1200" cap="none" spc="0" normalizeH="0" baseline="0" dirty="0">
              <a:ln>
                <a:noFill/>
              </a:ln>
              <a:solidFill>
                <a:srgbClr val="2B0A3D"/>
              </a:solidFill>
              <a:effectLst/>
              <a:uLnTx/>
              <a:uFillTx/>
              <a:latin typeface="Ubuntu Light" panose="020B0304030602030204" pitchFamily="34" charset="0"/>
              <a:ea typeface="+mj-ea"/>
              <a:cs typeface="+mj-cs"/>
            </a:endParaRPr>
          </a:p>
        </p:txBody>
      </p:sp>
      <p:sp>
        <p:nvSpPr>
          <p:cNvPr id="137" name="Title 1">
            <a:extLst>
              <a:ext uri="{FF2B5EF4-FFF2-40B4-BE49-F238E27FC236}">
                <a16:creationId xmlns:a16="http://schemas.microsoft.com/office/drawing/2014/main" id="{10EBAEB8-B6E4-AB44-858C-1602EAC40F46}"/>
              </a:ext>
            </a:extLst>
          </p:cNvPr>
          <p:cNvSpPr txBox="1">
            <a:spLocks/>
          </p:cNvSpPr>
          <p:nvPr/>
        </p:nvSpPr>
        <p:spPr>
          <a:xfrm>
            <a:off x="469857" y="5778920"/>
            <a:ext cx="2977720" cy="944253"/>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L="171450" marR="0" lvl="0" indent="-171450" algn="l" defTabSz="914400" rtl="0" eaLnBrk="1" fontAlgn="auto" latinLnBrk="0" hangingPunct="1">
              <a:lnSpc>
                <a:spcPct val="100000"/>
              </a:lnSpc>
              <a:spcBef>
                <a:spcPct val="0"/>
              </a:spcBef>
              <a:spcAft>
                <a:spcPts val="0"/>
              </a:spcAft>
              <a:buClrTx/>
              <a:buSzTx/>
              <a:buFont typeface="Wingdings" pitchFamily="2" charset="2"/>
              <a:buChar char="§"/>
              <a:tabLst/>
              <a:defRPr/>
            </a:pPr>
            <a:endParaRPr kumimoji="0" lang="en-US" sz="1200" b="0" i="0" u="none" strike="noStrike" kern="1200" cap="none" spc="0" normalizeH="0" baseline="0" noProof="0">
              <a:ln>
                <a:noFill/>
              </a:ln>
              <a:solidFill>
                <a:srgbClr val="FFFFFF"/>
              </a:solidFill>
              <a:effectLst/>
              <a:uLnTx/>
              <a:uFillTx/>
              <a:latin typeface="Ubuntu Light" panose="020B0304030602030204" pitchFamily="34" charset="0"/>
              <a:ea typeface="+mj-ea"/>
              <a:cs typeface="+mj-cs"/>
            </a:endParaRPr>
          </a:p>
        </p:txBody>
      </p:sp>
      <p:pic>
        <p:nvPicPr>
          <p:cNvPr id="143" name="Picture 11">
            <a:extLst>
              <a:ext uri="{FF2B5EF4-FFF2-40B4-BE49-F238E27FC236}">
                <a16:creationId xmlns:a16="http://schemas.microsoft.com/office/drawing/2014/main" id="{DF9C26DD-2DEA-074B-AB08-9058DCD5DF9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11909" y="3716293"/>
            <a:ext cx="1507764" cy="1502618"/>
          </a:xfrm>
          <a:prstGeom prst="rect">
            <a:avLst/>
          </a:prstGeom>
        </p:spPr>
      </p:pic>
      <p:sp>
        <p:nvSpPr>
          <p:cNvPr id="144" name="Title 1">
            <a:extLst>
              <a:ext uri="{FF2B5EF4-FFF2-40B4-BE49-F238E27FC236}">
                <a16:creationId xmlns:a16="http://schemas.microsoft.com/office/drawing/2014/main" id="{516CF9F9-F2DB-0D4E-9B74-84FD24C3C64F}"/>
              </a:ext>
            </a:extLst>
          </p:cNvPr>
          <p:cNvSpPr txBox="1">
            <a:spLocks/>
          </p:cNvSpPr>
          <p:nvPr/>
        </p:nvSpPr>
        <p:spPr>
          <a:xfrm>
            <a:off x="6111241" y="4059426"/>
            <a:ext cx="2410704" cy="479107"/>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s-ES_tradnl" sz="1800" b="1" dirty="0">
                <a:solidFill>
                  <a:srgbClr val="2B0A3D"/>
                </a:solidFill>
              </a:rPr>
              <a:t>Integración con </a:t>
            </a:r>
            <a:r>
              <a:rPr lang="es-ES_tradnl" sz="1800" b="1" dirty="0" err="1">
                <a:solidFill>
                  <a:srgbClr val="2B0A3D"/>
                </a:solidFill>
              </a:rPr>
              <a:t>CognitiveQA</a:t>
            </a:r>
            <a:r>
              <a:rPr lang="es-ES_tradnl" sz="1800" b="1" dirty="0">
                <a:solidFill>
                  <a:srgbClr val="2B0A3D"/>
                </a:solidFill>
              </a:rPr>
              <a:t> y </a:t>
            </a:r>
            <a:r>
              <a:rPr lang="es-ES_tradnl" sz="1800" b="1" dirty="0" err="1">
                <a:solidFill>
                  <a:srgbClr val="2B0A3D"/>
                </a:solidFill>
              </a:rPr>
              <a:t>Teams</a:t>
            </a:r>
            <a:endParaRPr kumimoji="0" lang="es-ES_tradnl" sz="1800" b="1" i="0" u="none" strike="noStrike" kern="1200" cap="none" spc="0" normalizeH="0" baseline="0" noProof="0" dirty="0">
              <a:ln>
                <a:noFill/>
              </a:ln>
              <a:solidFill>
                <a:srgbClr val="2B0A3D"/>
              </a:solidFill>
              <a:effectLst/>
              <a:uLnTx/>
              <a:uFillTx/>
              <a:latin typeface="Ubuntu" panose="020B0504030602030204" pitchFamily="34" charset="0"/>
              <a:ea typeface="+mj-ea"/>
              <a:cs typeface="+mj-cs"/>
            </a:endParaRPr>
          </a:p>
        </p:txBody>
      </p:sp>
      <p:sp>
        <p:nvSpPr>
          <p:cNvPr id="145" name="Title 1">
            <a:extLst>
              <a:ext uri="{FF2B5EF4-FFF2-40B4-BE49-F238E27FC236}">
                <a16:creationId xmlns:a16="http://schemas.microsoft.com/office/drawing/2014/main" id="{68AEEF12-7D99-2E49-8E78-657233DC2A58}"/>
              </a:ext>
            </a:extLst>
          </p:cNvPr>
          <p:cNvSpPr txBox="1">
            <a:spLocks/>
          </p:cNvSpPr>
          <p:nvPr/>
        </p:nvSpPr>
        <p:spPr>
          <a:xfrm>
            <a:off x="6111241" y="4845233"/>
            <a:ext cx="2526282" cy="1575483"/>
          </a:xfrm>
          <a:prstGeom prst="rect">
            <a:avLst/>
          </a:prstGeom>
        </p:spPr>
        <p:txBody>
          <a:bodyPr vert="horz" lIns="0" tIns="0" rIns="0" bIns="0" rtlCol="0" anchor="t">
            <a:normAutofit/>
          </a:bodyPr>
          <a:lstStyle>
            <a:defPPr>
              <a:defRPr lang="en-US"/>
            </a:defPPr>
            <a:lvl1pPr>
              <a:lnSpc>
                <a:spcPct val="90000"/>
              </a:lnSpc>
              <a:spcBef>
                <a:spcPct val="0"/>
              </a:spcBef>
              <a:buNone/>
              <a:defRPr sz="11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ES_tradnl" sz="1100" b="0" i="0" u="none" strike="noStrike" kern="1200" cap="none" spc="0" normalizeH="0" baseline="0" noProof="0" dirty="0">
                <a:ln>
                  <a:noFill/>
                </a:ln>
                <a:solidFill>
                  <a:srgbClr val="2B0A3D"/>
                </a:solidFill>
                <a:effectLst/>
                <a:uLnTx/>
                <a:uFillTx/>
                <a:latin typeface="Ubuntu"/>
                <a:ea typeface="+mj-ea"/>
                <a:cs typeface="+mj-cs"/>
              </a:rPr>
              <a:t>El </a:t>
            </a:r>
            <a:r>
              <a:rPr kumimoji="0" lang="es-ES_tradnl" sz="1100" b="0" i="0" u="none" strike="noStrike" kern="1200" cap="none" spc="0" normalizeH="0" baseline="0" noProof="0" dirty="0" err="1">
                <a:ln>
                  <a:noFill/>
                </a:ln>
                <a:solidFill>
                  <a:srgbClr val="2B0A3D"/>
                </a:solidFill>
                <a:effectLst/>
                <a:uLnTx/>
                <a:uFillTx/>
                <a:latin typeface="Ubuntu"/>
                <a:ea typeface="+mj-ea"/>
                <a:cs typeface="+mj-cs"/>
              </a:rPr>
              <a:t>chatbot</a:t>
            </a:r>
            <a:r>
              <a:rPr kumimoji="0" lang="es-ES_tradnl" sz="1100" b="0" i="0" u="none" strike="noStrike" kern="1200" cap="none" spc="0" normalizeH="0" baseline="0" noProof="0" dirty="0">
                <a:ln>
                  <a:noFill/>
                </a:ln>
                <a:solidFill>
                  <a:srgbClr val="2B0A3D"/>
                </a:solidFill>
                <a:effectLst/>
                <a:uLnTx/>
                <a:uFillTx/>
                <a:latin typeface="Ubuntu"/>
                <a:ea typeface="+mj-ea"/>
                <a:cs typeface="+mj-cs"/>
              </a:rPr>
              <a:t> puede implementarse en modalidad </a:t>
            </a:r>
            <a:r>
              <a:rPr kumimoji="0" lang="es-ES_tradnl" sz="1100" b="0" i="0" u="none" strike="noStrike" kern="1200" cap="none" spc="0" normalizeH="0" baseline="0" noProof="0" dirty="0" err="1">
                <a:ln>
                  <a:noFill/>
                </a:ln>
                <a:solidFill>
                  <a:srgbClr val="2B0A3D"/>
                </a:solidFill>
                <a:effectLst/>
                <a:uLnTx/>
                <a:uFillTx/>
                <a:latin typeface="Ubuntu"/>
                <a:ea typeface="+mj-ea"/>
                <a:cs typeface="+mj-cs"/>
              </a:rPr>
              <a:t>standalone</a:t>
            </a:r>
            <a:r>
              <a:rPr kumimoji="0" lang="es-ES_tradnl" sz="1100" b="0" i="0" u="none" strike="noStrike" kern="1200" cap="none" spc="0" normalizeH="0" baseline="0" noProof="0" dirty="0">
                <a:ln>
                  <a:noFill/>
                </a:ln>
                <a:solidFill>
                  <a:srgbClr val="2B0A3D"/>
                </a:solidFill>
                <a:effectLst/>
                <a:uLnTx/>
                <a:uFillTx/>
                <a:latin typeface="Ubuntu"/>
                <a:ea typeface="+mj-ea"/>
                <a:cs typeface="+mj-cs"/>
              </a:rPr>
              <a:t> o integrado en un chat de </a:t>
            </a:r>
            <a:r>
              <a:rPr kumimoji="0" lang="es-ES_tradnl" sz="1100" b="0" i="0" u="none" strike="noStrike" kern="1200" cap="none" spc="0" normalizeH="0" baseline="0" noProof="0" dirty="0" err="1">
                <a:ln>
                  <a:noFill/>
                </a:ln>
                <a:solidFill>
                  <a:srgbClr val="2B0A3D"/>
                </a:solidFill>
                <a:effectLst/>
                <a:uLnTx/>
                <a:uFillTx/>
                <a:latin typeface="Ubuntu"/>
                <a:ea typeface="+mj-ea"/>
                <a:cs typeface="+mj-cs"/>
              </a:rPr>
              <a:t>Teams</a:t>
            </a:r>
            <a:r>
              <a:rPr kumimoji="0" lang="es-ES_tradnl" sz="1100" b="0" i="0" u="none" strike="noStrike" kern="1200" cap="none" spc="0" normalizeH="0" baseline="0" noProof="0" dirty="0">
                <a:ln>
                  <a:noFill/>
                </a:ln>
                <a:solidFill>
                  <a:srgbClr val="2B0A3D"/>
                </a:solidFill>
                <a:effectLst/>
                <a:uLnTx/>
                <a:uFillTx/>
                <a:latin typeface="Ubuntu"/>
                <a:ea typeface="+mj-ea"/>
                <a:cs typeface="+mj-cs"/>
              </a:rPr>
              <a:t>, con la posibilidad de interactuar con los </a:t>
            </a:r>
            <a:r>
              <a:rPr kumimoji="0" lang="es-ES_tradnl" sz="1100" b="0" i="0" u="none" strike="noStrike" kern="1200" cap="none" spc="0" normalizeH="0" baseline="0" noProof="0" dirty="0" err="1">
                <a:ln>
                  <a:noFill/>
                </a:ln>
                <a:solidFill>
                  <a:srgbClr val="2B0A3D"/>
                </a:solidFill>
                <a:effectLst/>
                <a:uLnTx/>
                <a:uFillTx/>
                <a:latin typeface="Ubuntu"/>
                <a:ea typeface="+mj-ea"/>
                <a:cs typeface="+mj-cs"/>
              </a:rPr>
              <a:t>disintos</a:t>
            </a:r>
            <a:r>
              <a:rPr kumimoji="0" lang="es-ES_tradnl" sz="1100" b="0" i="0" u="none" strike="noStrike" kern="1200" cap="none" spc="0" normalizeH="0" baseline="0" noProof="0" dirty="0">
                <a:ln>
                  <a:noFill/>
                </a:ln>
                <a:solidFill>
                  <a:srgbClr val="2B0A3D"/>
                </a:solidFill>
                <a:effectLst/>
                <a:uLnTx/>
                <a:uFillTx/>
                <a:latin typeface="Ubuntu"/>
                <a:ea typeface="+mj-ea"/>
                <a:cs typeface="+mj-cs"/>
              </a:rPr>
              <a:t> </a:t>
            </a:r>
            <a:r>
              <a:rPr kumimoji="0" lang="es-ES_tradnl" sz="1100" b="0" i="0" u="none" strike="noStrike" kern="1200" cap="none" spc="0" normalizeH="0" baseline="0" noProof="0" dirty="0" err="1">
                <a:ln>
                  <a:noFill/>
                </a:ln>
                <a:solidFill>
                  <a:srgbClr val="2B0A3D"/>
                </a:solidFill>
                <a:effectLst/>
                <a:uLnTx/>
                <a:uFillTx/>
                <a:latin typeface="Ubuntu"/>
                <a:ea typeface="+mj-ea"/>
                <a:cs typeface="+mj-cs"/>
              </a:rPr>
              <a:t>stakeholders</a:t>
            </a:r>
            <a:r>
              <a:rPr kumimoji="0" lang="es-ES_tradnl" sz="1100" b="0" i="0" u="none" strike="noStrike" kern="1200" cap="none" spc="0" normalizeH="0" baseline="0" noProof="0" dirty="0">
                <a:ln>
                  <a:noFill/>
                </a:ln>
                <a:solidFill>
                  <a:srgbClr val="2B0A3D"/>
                </a:solidFill>
                <a:effectLst/>
                <a:uLnTx/>
                <a:uFillTx/>
                <a:latin typeface="Ubuntu"/>
                <a:ea typeface="+mj-ea"/>
                <a:cs typeface="+mj-cs"/>
              </a:rPr>
              <a:t> sobre aspectos de calidad de un proyecto.</a:t>
            </a:r>
          </a:p>
        </p:txBody>
      </p:sp>
      <p:sp>
        <p:nvSpPr>
          <p:cNvPr id="6" name="Título 5">
            <a:extLst>
              <a:ext uri="{FF2B5EF4-FFF2-40B4-BE49-F238E27FC236}">
                <a16:creationId xmlns:a16="http://schemas.microsoft.com/office/drawing/2014/main" id="{3F4FFB4B-8809-40C8-B566-1F95C4345C87}"/>
              </a:ext>
            </a:extLst>
          </p:cNvPr>
          <p:cNvSpPr>
            <a:spLocks noGrp="1"/>
          </p:cNvSpPr>
          <p:nvPr>
            <p:ph type="title"/>
          </p:nvPr>
        </p:nvSpPr>
        <p:spPr>
          <a:xfrm>
            <a:off x="696022" y="601781"/>
            <a:ext cx="3135198" cy="1747879"/>
          </a:xfrm>
        </p:spPr>
        <p:txBody>
          <a:bodyPr/>
          <a:lstStyle/>
          <a:p>
            <a:r>
              <a:rPr lang="es-ES" sz="2800" dirty="0"/>
              <a:t>CognitiveQA – </a:t>
            </a:r>
            <a:r>
              <a:rPr lang="es-ES" sz="3600" dirty="0"/>
              <a:t>Quality </a:t>
            </a:r>
            <a:r>
              <a:rPr lang="es-ES" sz="3600" dirty="0" err="1"/>
              <a:t>Chatbot</a:t>
            </a:r>
            <a:r>
              <a:rPr lang="es-ES" sz="3600" dirty="0"/>
              <a:t> (</a:t>
            </a:r>
            <a:r>
              <a:rPr lang="es-ES" sz="3600" dirty="0" err="1"/>
              <a:t>Wisey</a:t>
            </a:r>
            <a:r>
              <a:rPr lang="es-ES" sz="3600" dirty="0"/>
              <a:t>)</a:t>
            </a:r>
            <a:endParaRPr lang="en-GB" dirty="0"/>
          </a:p>
        </p:txBody>
      </p:sp>
      <p:sp>
        <p:nvSpPr>
          <p:cNvPr id="3" name="Marcador de texto 2">
            <a:extLst>
              <a:ext uri="{FF2B5EF4-FFF2-40B4-BE49-F238E27FC236}">
                <a16:creationId xmlns:a16="http://schemas.microsoft.com/office/drawing/2014/main" id="{A888FF3C-BDDF-0F4C-A780-D8CA9A87F6B7}"/>
              </a:ext>
            </a:extLst>
          </p:cNvPr>
          <p:cNvSpPr>
            <a:spLocks noGrp="1"/>
          </p:cNvSpPr>
          <p:nvPr>
            <p:ph type="body" sz="quarter" idx="10"/>
          </p:nvPr>
        </p:nvSpPr>
        <p:spPr/>
        <p:txBody>
          <a:bodyPr/>
          <a:lstStyle/>
          <a:p>
            <a:r>
              <a:rPr lang="es-ES_tradnl" dirty="0"/>
              <a:t>Aplicable a cualquier tipo de proyecto en el que las pruebas se estructuran por área funcional, requisitos, épicas,…</a:t>
            </a:r>
          </a:p>
          <a:p>
            <a:endParaRPr lang="es-ES" dirty="0"/>
          </a:p>
        </p:txBody>
      </p:sp>
      <p:grpSp>
        <p:nvGrpSpPr>
          <p:cNvPr id="82" name="Group 136">
            <a:extLst>
              <a:ext uri="{FF2B5EF4-FFF2-40B4-BE49-F238E27FC236}">
                <a16:creationId xmlns:a16="http://schemas.microsoft.com/office/drawing/2014/main" id="{F6354DEB-3AD3-8B49-817B-7DCF5C9A97D8}"/>
              </a:ext>
            </a:extLst>
          </p:cNvPr>
          <p:cNvGrpSpPr/>
          <p:nvPr/>
        </p:nvGrpSpPr>
        <p:grpSpPr>
          <a:xfrm flipH="1">
            <a:off x="9457376" y="1839009"/>
            <a:ext cx="1959324" cy="2020420"/>
            <a:chOff x="806913" y="3286001"/>
            <a:chExt cx="3505200" cy="3553950"/>
          </a:xfrm>
        </p:grpSpPr>
        <p:sp>
          <p:nvSpPr>
            <p:cNvPr id="83" name="Freeform 7">
              <a:extLst>
                <a:ext uri="{FF2B5EF4-FFF2-40B4-BE49-F238E27FC236}">
                  <a16:creationId xmlns:a16="http://schemas.microsoft.com/office/drawing/2014/main" id="{EDE23495-7E9C-D94B-A5D7-BAF794292B01}"/>
                </a:ext>
              </a:extLst>
            </p:cNvPr>
            <p:cNvSpPr>
              <a:spLocks/>
            </p:cNvSpPr>
            <p:nvPr/>
          </p:nvSpPr>
          <p:spPr bwMode="auto">
            <a:xfrm>
              <a:off x="1603549" y="4382268"/>
              <a:ext cx="808526" cy="488683"/>
            </a:xfrm>
            <a:custGeom>
              <a:avLst/>
              <a:gdLst>
                <a:gd name="T0" fmla="*/ 1769 w 3153"/>
                <a:gd name="T1" fmla="*/ 372 h 1906"/>
                <a:gd name="T2" fmla="*/ 783 w 3153"/>
                <a:gd name="T3" fmla="*/ 0 h 1906"/>
                <a:gd name="T4" fmla="*/ 1576 w 3153"/>
                <a:gd name="T5" fmla="*/ 1415 h 1906"/>
                <a:gd name="T6" fmla="*/ 1769 w 3153"/>
                <a:gd name="T7" fmla="*/ 372 h 1906"/>
              </a:gdLst>
              <a:ahLst/>
              <a:cxnLst>
                <a:cxn ang="0">
                  <a:pos x="T0" y="T1"/>
                </a:cxn>
                <a:cxn ang="0">
                  <a:pos x="T2" y="T3"/>
                </a:cxn>
                <a:cxn ang="0">
                  <a:pos x="T4" y="T5"/>
                </a:cxn>
                <a:cxn ang="0">
                  <a:pos x="T6" y="T7"/>
                </a:cxn>
              </a:cxnLst>
              <a:rect l="0" t="0" r="r" b="b"/>
              <a:pathLst>
                <a:path w="3153" h="1906">
                  <a:moveTo>
                    <a:pt x="1769" y="372"/>
                  </a:moveTo>
                  <a:lnTo>
                    <a:pt x="783" y="0"/>
                  </a:lnTo>
                  <a:cubicBezTo>
                    <a:pt x="783" y="0"/>
                    <a:pt x="0" y="924"/>
                    <a:pt x="1576" y="1415"/>
                  </a:cubicBezTo>
                  <a:cubicBezTo>
                    <a:pt x="3153" y="1906"/>
                    <a:pt x="1769" y="372"/>
                    <a:pt x="1769" y="372"/>
                  </a:cubicBezTo>
                  <a:close/>
                </a:path>
              </a:pathLst>
            </a:custGeom>
            <a:solidFill>
              <a:srgbClr val="EF915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84" name="Freeform 8">
              <a:extLst>
                <a:ext uri="{FF2B5EF4-FFF2-40B4-BE49-F238E27FC236}">
                  <a16:creationId xmlns:a16="http://schemas.microsoft.com/office/drawing/2014/main" id="{3F76AA49-2FB4-894F-83C7-51EC50D92753}"/>
                </a:ext>
              </a:extLst>
            </p:cNvPr>
            <p:cNvSpPr>
              <a:spLocks/>
            </p:cNvSpPr>
            <p:nvPr/>
          </p:nvSpPr>
          <p:spPr bwMode="auto">
            <a:xfrm>
              <a:off x="1545288" y="4681898"/>
              <a:ext cx="838252" cy="386428"/>
            </a:xfrm>
            <a:custGeom>
              <a:avLst/>
              <a:gdLst>
                <a:gd name="T0" fmla="*/ 1659 w 3269"/>
                <a:gd name="T1" fmla="*/ 211 h 1507"/>
                <a:gd name="T2" fmla="*/ 627 w 3269"/>
                <a:gd name="T3" fmla="*/ 0 h 1507"/>
                <a:gd name="T4" fmla="*/ 1634 w 3269"/>
                <a:gd name="T5" fmla="*/ 1272 h 1507"/>
                <a:gd name="T6" fmla="*/ 1659 w 3269"/>
                <a:gd name="T7" fmla="*/ 211 h 1507"/>
              </a:gdLst>
              <a:ahLst/>
              <a:cxnLst>
                <a:cxn ang="0">
                  <a:pos x="T0" y="T1"/>
                </a:cxn>
                <a:cxn ang="0">
                  <a:pos x="T2" y="T3"/>
                </a:cxn>
                <a:cxn ang="0">
                  <a:pos x="T4" y="T5"/>
                </a:cxn>
                <a:cxn ang="0">
                  <a:pos x="T6" y="T7"/>
                </a:cxn>
              </a:cxnLst>
              <a:rect l="0" t="0" r="r" b="b"/>
              <a:pathLst>
                <a:path w="3269" h="1507">
                  <a:moveTo>
                    <a:pt x="1659" y="211"/>
                  </a:moveTo>
                  <a:lnTo>
                    <a:pt x="627" y="0"/>
                  </a:lnTo>
                  <a:cubicBezTo>
                    <a:pt x="627" y="0"/>
                    <a:pt x="0" y="1037"/>
                    <a:pt x="1634" y="1272"/>
                  </a:cubicBezTo>
                  <a:cubicBezTo>
                    <a:pt x="3269" y="1507"/>
                    <a:pt x="1659" y="211"/>
                    <a:pt x="1659" y="211"/>
                  </a:cubicBezTo>
                  <a:close/>
                </a:path>
              </a:pathLst>
            </a:custGeom>
            <a:solidFill>
              <a:srgbClr val="EF915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85" name="Freeform 9">
              <a:extLst>
                <a:ext uri="{FF2B5EF4-FFF2-40B4-BE49-F238E27FC236}">
                  <a16:creationId xmlns:a16="http://schemas.microsoft.com/office/drawing/2014/main" id="{C77C5BDF-41D6-9A4B-BA0F-6C4768286537}"/>
                </a:ext>
              </a:extLst>
            </p:cNvPr>
            <p:cNvSpPr>
              <a:spLocks/>
            </p:cNvSpPr>
            <p:nvPr/>
          </p:nvSpPr>
          <p:spPr bwMode="auto">
            <a:xfrm>
              <a:off x="1559556" y="5048113"/>
              <a:ext cx="833496" cy="359081"/>
            </a:xfrm>
            <a:custGeom>
              <a:avLst/>
              <a:gdLst>
                <a:gd name="T0" fmla="*/ 1602 w 3247"/>
                <a:gd name="T1" fmla="*/ 225 h 1399"/>
                <a:gd name="T2" fmla="*/ 573 w 3247"/>
                <a:gd name="T3" fmla="*/ 0 h 1399"/>
                <a:gd name="T4" fmla="*/ 1623 w 3247"/>
                <a:gd name="T5" fmla="*/ 1127 h 1399"/>
                <a:gd name="T6" fmla="*/ 1602 w 3247"/>
                <a:gd name="T7" fmla="*/ 225 h 1399"/>
              </a:gdLst>
              <a:ahLst/>
              <a:cxnLst>
                <a:cxn ang="0">
                  <a:pos x="T0" y="T1"/>
                </a:cxn>
                <a:cxn ang="0">
                  <a:pos x="T2" y="T3"/>
                </a:cxn>
                <a:cxn ang="0">
                  <a:pos x="T4" y="T5"/>
                </a:cxn>
                <a:cxn ang="0">
                  <a:pos x="T6" y="T7"/>
                </a:cxn>
              </a:cxnLst>
              <a:rect l="0" t="0" r="r" b="b"/>
              <a:pathLst>
                <a:path w="3247" h="1399">
                  <a:moveTo>
                    <a:pt x="1602" y="225"/>
                  </a:moveTo>
                  <a:lnTo>
                    <a:pt x="573" y="0"/>
                  </a:lnTo>
                  <a:cubicBezTo>
                    <a:pt x="573" y="0"/>
                    <a:pt x="0" y="856"/>
                    <a:pt x="1623" y="1127"/>
                  </a:cubicBezTo>
                  <a:cubicBezTo>
                    <a:pt x="3247" y="1399"/>
                    <a:pt x="1602" y="225"/>
                    <a:pt x="1602" y="225"/>
                  </a:cubicBezTo>
                </a:path>
              </a:pathLst>
            </a:custGeom>
            <a:solidFill>
              <a:srgbClr val="EF915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86" name="Freeform 10">
              <a:extLst>
                <a:ext uri="{FF2B5EF4-FFF2-40B4-BE49-F238E27FC236}">
                  <a16:creationId xmlns:a16="http://schemas.microsoft.com/office/drawing/2014/main" id="{A1AEAE77-F503-1342-A1E7-C7E8AC0E1DFA}"/>
                </a:ext>
              </a:extLst>
            </p:cNvPr>
            <p:cNvSpPr>
              <a:spLocks/>
            </p:cNvSpPr>
            <p:nvPr/>
          </p:nvSpPr>
          <p:spPr bwMode="auto">
            <a:xfrm>
              <a:off x="2203999" y="4062425"/>
              <a:ext cx="1335258" cy="2777526"/>
            </a:xfrm>
            <a:custGeom>
              <a:avLst/>
              <a:gdLst>
                <a:gd name="T0" fmla="*/ 2863 w 5207"/>
                <a:gd name="T1" fmla="*/ 660 h 10834"/>
                <a:gd name="T2" fmla="*/ 4133 w 5207"/>
                <a:gd name="T3" fmla="*/ 4210 h 10834"/>
                <a:gd name="T4" fmla="*/ 4567 w 5207"/>
                <a:gd name="T5" fmla="*/ 8375 h 10834"/>
                <a:gd name="T6" fmla="*/ 5207 w 5207"/>
                <a:gd name="T7" fmla="*/ 10834 h 10834"/>
                <a:gd name="T8" fmla="*/ 2296 w 5207"/>
                <a:gd name="T9" fmla="*/ 10834 h 10834"/>
                <a:gd name="T10" fmla="*/ 2427 w 5207"/>
                <a:gd name="T11" fmla="*/ 7410 h 10834"/>
                <a:gd name="T12" fmla="*/ 43 w 5207"/>
                <a:gd name="T13" fmla="*/ 5221 h 10834"/>
                <a:gd name="T14" fmla="*/ 958 w 5207"/>
                <a:gd name="T15" fmla="*/ 0 h 10834"/>
                <a:gd name="T16" fmla="*/ 2863 w 5207"/>
                <a:gd name="T17" fmla="*/ 660 h 10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07" h="10834">
                  <a:moveTo>
                    <a:pt x="2863" y="660"/>
                  </a:moveTo>
                  <a:lnTo>
                    <a:pt x="4133" y="4210"/>
                  </a:lnTo>
                  <a:lnTo>
                    <a:pt x="4567" y="8375"/>
                  </a:lnTo>
                  <a:lnTo>
                    <a:pt x="5207" y="10834"/>
                  </a:lnTo>
                  <a:lnTo>
                    <a:pt x="2296" y="10834"/>
                  </a:lnTo>
                  <a:lnTo>
                    <a:pt x="2427" y="7410"/>
                  </a:lnTo>
                  <a:cubicBezTo>
                    <a:pt x="2427" y="7410"/>
                    <a:pt x="85" y="8038"/>
                    <a:pt x="43" y="5221"/>
                  </a:cubicBezTo>
                  <a:cubicBezTo>
                    <a:pt x="0" y="2404"/>
                    <a:pt x="958" y="0"/>
                    <a:pt x="958" y="0"/>
                  </a:cubicBezTo>
                  <a:lnTo>
                    <a:pt x="2863" y="660"/>
                  </a:lnTo>
                </a:path>
              </a:pathLst>
            </a:custGeom>
            <a:solidFill>
              <a:srgbClr val="F3AC8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87" name="Freeform 11">
              <a:extLst>
                <a:ext uri="{FF2B5EF4-FFF2-40B4-BE49-F238E27FC236}">
                  <a16:creationId xmlns:a16="http://schemas.microsoft.com/office/drawing/2014/main" id="{33206EEA-E714-D948-A07F-FBA38ECA6B0F}"/>
                </a:ext>
              </a:extLst>
            </p:cNvPr>
            <p:cNvSpPr>
              <a:spLocks/>
            </p:cNvSpPr>
            <p:nvPr/>
          </p:nvSpPr>
          <p:spPr bwMode="auto">
            <a:xfrm>
              <a:off x="1998301" y="4687844"/>
              <a:ext cx="1013036" cy="904837"/>
            </a:xfrm>
            <a:custGeom>
              <a:avLst/>
              <a:gdLst>
                <a:gd name="T0" fmla="*/ 721 w 3952"/>
                <a:gd name="T1" fmla="*/ 3528 h 3530"/>
                <a:gd name="T2" fmla="*/ 3115 w 3952"/>
                <a:gd name="T3" fmla="*/ 3512 h 3530"/>
                <a:gd name="T4" fmla="*/ 3906 w 3952"/>
                <a:gd name="T5" fmla="*/ 2716 h 3530"/>
                <a:gd name="T6" fmla="*/ 3944 w 3952"/>
                <a:gd name="T7" fmla="*/ 789 h 3530"/>
                <a:gd name="T8" fmla="*/ 3184 w 3952"/>
                <a:gd name="T9" fmla="*/ 3 h 3530"/>
                <a:gd name="T10" fmla="*/ 791 w 3952"/>
                <a:gd name="T11" fmla="*/ 18 h 3530"/>
                <a:gd name="T12" fmla="*/ 0 w 3952"/>
                <a:gd name="T13" fmla="*/ 815 h 3530"/>
                <a:gd name="T14" fmla="*/ 242 w 3952"/>
                <a:gd name="T15" fmla="*/ 3126 h 3530"/>
                <a:gd name="T16" fmla="*/ 721 w 3952"/>
                <a:gd name="T17" fmla="*/ 3528 h 3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52" h="3530">
                  <a:moveTo>
                    <a:pt x="721" y="3528"/>
                  </a:moveTo>
                  <a:lnTo>
                    <a:pt x="3115" y="3512"/>
                  </a:lnTo>
                  <a:cubicBezTo>
                    <a:pt x="3541" y="3509"/>
                    <a:pt x="3897" y="3151"/>
                    <a:pt x="3906" y="2716"/>
                  </a:cubicBezTo>
                  <a:lnTo>
                    <a:pt x="3944" y="789"/>
                  </a:lnTo>
                  <a:cubicBezTo>
                    <a:pt x="3952" y="354"/>
                    <a:pt x="3611" y="0"/>
                    <a:pt x="3184" y="3"/>
                  </a:cubicBezTo>
                  <a:lnTo>
                    <a:pt x="791" y="18"/>
                  </a:lnTo>
                  <a:cubicBezTo>
                    <a:pt x="364" y="21"/>
                    <a:pt x="9" y="380"/>
                    <a:pt x="0" y="815"/>
                  </a:cubicBezTo>
                  <a:lnTo>
                    <a:pt x="242" y="3126"/>
                  </a:lnTo>
                  <a:cubicBezTo>
                    <a:pt x="499" y="3406"/>
                    <a:pt x="295" y="3530"/>
                    <a:pt x="721" y="3528"/>
                  </a:cubicBezTo>
                  <a:close/>
                </a:path>
              </a:pathLst>
            </a:custGeom>
            <a:solidFill>
              <a:srgbClr val="EF915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88" name="Freeform 12">
              <a:extLst>
                <a:ext uri="{FF2B5EF4-FFF2-40B4-BE49-F238E27FC236}">
                  <a16:creationId xmlns:a16="http://schemas.microsoft.com/office/drawing/2014/main" id="{2763BD4A-9DE4-4C46-9D3F-92C4DC649B36}"/>
                </a:ext>
              </a:extLst>
            </p:cNvPr>
            <p:cNvSpPr>
              <a:spLocks/>
            </p:cNvSpPr>
            <p:nvPr/>
          </p:nvSpPr>
          <p:spPr bwMode="auto">
            <a:xfrm>
              <a:off x="1844918" y="3286001"/>
              <a:ext cx="1105779" cy="2193723"/>
            </a:xfrm>
            <a:custGeom>
              <a:avLst/>
              <a:gdLst>
                <a:gd name="T0" fmla="*/ 3952 w 4308"/>
                <a:gd name="T1" fmla="*/ 8554 h 8554"/>
                <a:gd name="T2" fmla="*/ 352 w 4308"/>
                <a:gd name="T3" fmla="*/ 8553 h 8554"/>
                <a:gd name="T4" fmla="*/ 0 w 4308"/>
                <a:gd name="T5" fmla="*/ 8201 h 8554"/>
                <a:gd name="T6" fmla="*/ 4 w 4308"/>
                <a:gd name="T7" fmla="*/ 352 h 8554"/>
                <a:gd name="T8" fmla="*/ 356 w 4308"/>
                <a:gd name="T9" fmla="*/ 0 h 8554"/>
                <a:gd name="T10" fmla="*/ 3956 w 4308"/>
                <a:gd name="T11" fmla="*/ 1 h 8554"/>
                <a:gd name="T12" fmla="*/ 4308 w 4308"/>
                <a:gd name="T13" fmla="*/ 353 h 8554"/>
                <a:gd name="T14" fmla="*/ 4305 w 4308"/>
                <a:gd name="T15" fmla="*/ 8203 h 8554"/>
                <a:gd name="T16" fmla="*/ 3952 w 4308"/>
                <a:gd name="T17" fmla="*/ 8554 h 8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08" h="8554">
                  <a:moveTo>
                    <a:pt x="3952" y="8554"/>
                  </a:moveTo>
                  <a:lnTo>
                    <a:pt x="352" y="8553"/>
                  </a:lnTo>
                  <a:cubicBezTo>
                    <a:pt x="158" y="8553"/>
                    <a:pt x="0" y="8395"/>
                    <a:pt x="0" y="8201"/>
                  </a:cubicBezTo>
                  <a:lnTo>
                    <a:pt x="4" y="352"/>
                  </a:lnTo>
                  <a:cubicBezTo>
                    <a:pt x="4" y="157"/>
                    <a:pt x="161" y="0"/>
                    <a:pt x="356" y="0"/>
                  </a:cubicBezTo>
                  <a:lnTo>
                    <a:pt x="3956" y="1"/>
                  </a:lnTo>
                  <a:cubicBezTo>
                    <a:pt x="4150" y="1"/>
                    <a:pt x="4308" y="159"/>
                    <a:pt x="4308" y="353"/>
                  </a:cubicBezTo>
                  <a:lnTo>
                    <a:pt x="4305" y="8203"/>
                  </a:lnTo>
                  <a:cubicBezTo>
                    <a:pt x="4304" y="8397"/>
                    <a:pt x="4147" y="8554"/>
                    <a:pt x="3952" y="8554"/>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89" name="Freeform 13">
              <a:extLst>
                <a:ext uri="{FF2B5EF4-FFF2-40B4-BE49-F238E27FC236}">
                  <a16:creationId xmlns:a16="http://schemas.microsoft.com/office/drawing/2014/main" id="{14B0099E-0E49-4640-9910-D97DFEC2E83F}"/>
                </a:ext>
              </a:extLst>
            </p:cNvPr>
            <p:cNvSpPr>
              <a:spLocks/>
            </p:cNvSpPr>
            <p:nvPr/>
          </p:nvSpPr>
          <p:spPr bwMode="auto">
            <a:xfrm>
              <a:off x="1906746" y="3406091"/>
              <a:ext cx="983311" cy="1819185"/>
            </a:xfrm>
            <a:custGeom>
              <a:avLst/>
              <a:gdLst>
                <a:gd name="T0" fmla="*/ 3814 w 3835"/>
                <a:gd name="T1" fmla="*/ 7092 h 7092"/>
                <a:gd name="T2" fmla="*/ 17 w 3835"/>
                <a:gd name="T3" fmla="*/ 7090 h 7092"/>
                <a:gd name="T4" fmla="*/ 0 w 3835"/>
                <a:gd name="T5" fmla="*/ 7072 h 7092"/>
                <a:gd name="T6" fmla="*/ 2 w 3835"/>
                <a:gd name="T7" fmla="*/ 17 h 7092"/>
                <a:gd name="T8" fmla="*/ 20 w 3835"/>
                <a:gd name="T9" fmla="*/ 0 h 7092"/>
                <a:gd name="T10" fmla="*/ 3817 w 3835"/>
                <a:gd name="T11" fmla="*/ 1 h 7092"/>
                <a:gd name="T12" fmla="*/ 3835 w 3835"/>
                <a:gd name="T13" fmla="*/ 19 h 7092"/>
                <a:gd name="T14" fmla="*/ 3832 w 3835"/>
                <a:gd name="T15" fmla="*/ 7074 h 7092"/>
                <a:gd name="T16" fmla="*/ 3814 w 3835"/>
                <a:gd name="T17" fmla="*/ 7092 h 70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35" h="7092">
                  <a:moveTo>
                    <a:pt x="3814" y="7092"/>
                  </a:moveTo>
                  <a:lnTo>
                    <a:pt x="17" y="7090"/>
                  </a:lnTo>
                  <a:cubicBezTo>
                    <a:pt x="8" y="7090"/>
                    <a:pt x="0" y="7082"/>
                    <a:pt x="0" y="7072"/>
                  </a:cubicBezTo>
                  <a:lnTo>
                    <a:pt x="2" y="17"/>
                  </a:lnTo>
                  <a:cubicBezTo>
                    <a:pt x="3" y="8"/>
                    <a:pt x="10" y="0"/>
                    <a:pt x="20" y="0"/>
                  </a:cubicBezTo>
                  <a:lnTo>
                    <a:pt x="3817" y="1"/>
                  </a:lnTo>
                  <a:cubicBezTo>
                    <a:pt x="3827" y="1"/>
                    <a:pt x="3835" y="9"/>
                    <a:pt x="3835" y="19"/>
                  </a:cubicBezTo>
                  <a:lnTo>
                    <a:pt x="3832" y="7074"/>
                  </a:lnTo>
                  <a:cubicBezTo>
                    <a:pt x="3832" y="7084"/>
                    <a:pt x="3824" y="7092"/>
                    <a:pt x="3814" y="7092"/>
                  </a:cubicBezTo>
                  <a:close/>
                </a:path>
              </a:pathLst>
            </a:custGeom>
            <a:solidFill>
              <a:srgbClr val="D0DA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90" name="Freeform 14">
              <a:extLst>
                <a:ext uri="{FF2B5EF4-FFF2-40B4-BE49-F238E27FC236}">
                  <a16:creationId xmlns:a16="http://schemas.microsoft.com/office/drawing/2014/main" id="{2AFE00DC-AFD3-1844-9345-EECBBDA93F4F}"/>
                </a:ext>
              </a:extLst>
            </p:cNvPr>
            <p:cNvSpPr>
              <a:spLocks/>
            </p:cNvSpPr>
            <p:nvPr/>
          </p:nvSpPr>
          <p:spPr bwMode="auto">
            <a:xfrm>
              <a:off x="1925771" y="3446518"/>
              <a:ext cx="940507" cy="1747844"/>
            </a:xfrm>
            <a:custGeom>
              <a:avLst/>
              <a:gdLst>
                <a:gd name="T0" fmla="*/ 790 w 791"/>
                <a:gd name="T1" fmla="*/ 1470 h 1470"/>
                <a:gd name="T2" fmla="*/ 0 w 791"/>
                <a:gd name="T3" fmla="*/ 1470 h 1470"/>
                <a:gd name="T4" fmla="*/ 1 w 791"/>
                <a:gd name="T5" fmla="*/ 0 h 1470"/>
                <a:gd name="T6" fmla="*/ 791 w 791"/>
                <a:gd name="T7" fmla="*/ 0 h 1470"/>
                <a:gd name="T8" fmla="*/ 790 w 791"/>
                <a:gd name="T9" fmla="*/ 1470 h 1470"/>
              </a:gdLst>
              <a:ahLst/>
              <a:cxnLst>
                <a:cxn ang="0">
                  <a:pos x="T0" y="T1"/>
                </a:cxn>
                <a:cxn ang="0">
                  <a:pos x="T2" y="T3"/>
                </a:cxn>
                <a:cxn ang="0">
                  <a:pos x="T4" y="T5"/>
                </a:cxn>
                <a:cxn ang="0">
                  <a:pos x="T6" y="T7"/>
                </a:cxn>
                <a:cxn ang="0">
                  <a:pos x="T8" y="T9"/>
                </a:cxn>
              </a:cxnLst>
              <a:rect l="0" t="0" r="r" b="b"/>
              <a:pathLst>
                <a:path w="791" h="1470">
                  <a:moveTo>
                    <a:pt x="790" y="1470"/>
                  </a:moveTo>
                  <a:lnTo>
                    <a:pt x="0" y="1470"/>
                  </a:lnTo>
                  <a:lnTo>
                    <a:pt x="1" y="0"/>
                  </a:lnTo>
                  <a:lnTo>
                    <a:pt x="791" y="0"/>
                  </a:lnTo>
                  <a:lnTo>
                    <a:pt x="790" y="1470"/>
                  </a:lnTo>
                  <a:close/>
                </a:path>
              </a:pathLst>
            </a:custGeom>
            <a:solidFill>
              <a:srgbClr val="F9FA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91" name="Rectangle 15">
              <a:extLst>
                <a:ext uri="{FF2B5EF4-FFF2-40B4-BE49-F238E27FC236}">
                  <a16:creationId xmlns:a16="http://schemas.microsoft.com/office/drawing/2014/main" id="{7B5B3EDA-DA74-6D41-9757-2DE7025B4282}"/>
                </a:ext>
              </a:extLst>
            </p:cNvPr>
            <p:cNvSpPr>
              <a:spLocks noChangeArrowheads="1"/>
            </p:cNvSpPr>
            <p:nvPr/>
          </p:nvSpPr>
          <p:spPr bwMode="auto">
            <a:xfrm>
              <a:off x="2302687" y="5294239"/>
              <a:ext cx="222345" cy="784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92" name="Freeform 16">
              <a:extLst>
                <a:ext uri="{FF2B5EF4-FFF2-40B4-BE49-F238E27FC236}">
                  <a16:creationId xmlns:a16="http://schemas.microsoft.com/office/drawing/2014/main" id="{DB14D208-E67D-D24C-9EC8-E7EBD1077DA7}"/>
                </a:ext>
              </a:extLst>
            </p:cNvPr>
            <p:cNvSpPr>
              <a:spLocks/>
            </p:cNvSpPr>
            <p:nvPr/>
          </p:nvSpPr>
          <p:spPr bwMode="auto">
            <a:xfrm>
              <a:off x="2242047" y="3335939"/>
              <a:ext cx="296064" cy="38048"/>
            </a:xfrm>
            <a:custGeom>
              <a:avLst/>
              <a:gdLst>
                <a:gd name="T0" fmla="*/ 1086 w 1155"/>
                <a:gd name="T1" fmla="*/ 147 h 147"/>
                <a:gd name="T2" fmla="*/ 69 w 1155"/>
                <a:gd name="T3" fmla="*/ 146 h 147"/>
                <a:gd name="T4" fmla="*/ 0 w 1155"/>
                <a:gd name="T5" fmla="*/ 78 h 147"/>
                <a:gd name="T6" fmla="*/ 0 w 1155"/>
                <a:gd name="T7" fmla="*/ 69 h 147"/>
                <a:gd name="T8" fmla="*/ 69 w 1155"/>
                <a:gd name="T9" fmla="*/ 0 h 147"/>
                <a:gd name="T10" fmla="*/ 1086 w 1155"/>
                <a:gd name="T11" fmla="*/ 1 h 147"/>
                <a:gd name="T12" fmla="*/ 1155 w 1155"/>
                <a:gd name="T13" fmla="*/ 70 h 147"/>
                <a:gd name="T14" fmla="*/ 1155 w 1155"/>
                <a:gd name="T15" fmla="*/ 78 h 147"/>
                <a:gd name="T16" fmla="*/ 1086 w 1155"/>
                <a:gd name="T1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5" h="147">
                  <a:moveTo>
                    <a:pt x="1086" y="147"/>
                  </a:moveTo>
                  <a:lnTo>
                    <a:pt x="69" y="146"/>
                  </a:lnTo>
                  <a:cubicBezTo>
                    <a:pt x="30" y="146"/>
                    <a:pt x="0" y="116"/>
                    <a:pt x="0" y="78"/>
                  </a:cubicBezTo>
                  <a:lnTo>
                    <a:pt x="0" y="69"/>
                  </a:lnTo>
                  <a:cubicBezTo>
                    <a:pt x="0" y="31"/>
                    <a:pt x="31" y="0"/>
                    <a:pt x="69" y="0"/>
                  </a:cubicBezTo>
                  <a:lnTo>
                    <a:pt x="1086" y="1"/>
                  </a:lnTo>
                  <a:cubicBezTo>
                    <a:pt x="1124" y="1"/>
                    <a:pt x="1155" y="32"/>
                    <a:pt x="1155" y="70"/>
                  </a:cubicBezTo>
                  <a:lnTo>
                    <a:pt x="1155" y="78"/>
                  </a:lnTo>
                  <a:cubicBezTo>
                    <a:pt x="1155" y="116"/>
                    <a:pt x="1124" y="147"/>
                    <a:pt x="1086" y="14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93" name="Freeform 17">
              <a:extLst>
                <a:ext uri="{FF2B5EF4-FFF2-40B4-BE49-F238E27FC236}">
                  <a16:creationId xmlns:a16="http://schemas.microsoft.com/office/drawing/2014/main" id="{A60B0B7D-E3C6-5542-97D7-8A89F6077CB9}"/>
                </a:ext>
              </a:extLst>
            </p:cNvPr>
            <p:cNvSpPr>
              <a:spLocks/>
            </p:cNvSpPr>
            <p:nvPr/>
          </p:nvSpPr>
          <p:spPr bwMode="auto">
            <a:xfrm>
              <a:off x="2551190" y="3334751"/>
              <a:ext cx="35670" cy="41616"/>
            </a:xfrm>
            <a:custGeom>
              <a:avLst/>
              <a:gdLst>
                <a:gd name="T0" fmla="*/ 143 w 143"/>
                <a:gd name="T1" fmla="*/ 81 h 162"/>
                <a:gd name="T2" fmla="*/ 71 w 143"/>
                <a:gd name="T3" fmla="*/ 162 h 162"/>
                <a:gd name="T4" fmla="*/ 0 w 143"/>
                <a:gd name="T5" fmla="*/ 81 h 162"/>
                <a:gd name="T6" fmla="*/ 72 w 143"/>
                <a:gd name="T7" fmla="*/ 0 h 162"/>
                <a:gd name="T8" fmla="*/ 143 w 143"/>
                <a:gd name="T9" fmla="*/ 81 h 162"/>
              </a:gdLst>
              <a:ahLst/>
              <a:cxnLst>
                <a:cxn ang="0">
                  <a:pos x="T0" y="T1"/>
                </a:cxn>
                <a:cxn ang="0">
                  <a:pos x="T2" y="T3"/>
                </a:cxn>
                <a:cxn ang="0">
                  <a:pos x="T4" y="T5"/>
                </a:cxn>
                <a:cxn ang="0">
                  <a:pos x="T6" y="T7"/>
                </a:cxn>
                <a:cxn ang="0">
                  <a:pos x="T8" y="T9"/>
                </a:cxn>
              </a:cxnLst>
              <a:rect l="0" t="0" r="r" b="b"/>
              <a:pathLst>
                <a:path w="143" h="162">
                  <a:moveTo>
                    <a:pt x="143" y="81"/>
                  </a:moveTo>
                  <a:cubicBezTo>
                    <a:pt x="143" y="125"/>
                    <a:pt x="111" y="162"/>
                    <a:pt x="71" y="162"/>
                  </a:cubicBezTo>
                  <a:cubicBezTo>
                    <a:pt x="32" y="162"/>
                    <a:pt x="0" y="125"/>
                    <a:pt x="0" y="81"/>
                  </a:cubicBezTo>
                  <a:cubicBezTo>
                    <a:pt x="0" y="36"/>
                    <a:pt x="32" y="0"/>
                    <a:pt x="72" y="0"/>
                  </a:cubicBezTo>
                  <a:cubicBezTo>
                    <a:pt x="111" y="0"/>
                    <a:pt x="143" y="36"/>
                    <a:pt x="143"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94" name="Freeform 18">
              <a:extLst>
                <a:ext uri="{FF2B5EF4-FFF2-40B4-BE49-F238E27FC236}">
                  <a16:creationId xmlns:a16="http://schemas.microsoft.com/office/drawing/2014/main" id="{49BD5683-AFDD-E44C-86CD-A4BD1557F8AC}"/>
                </a:ext>
              </a:extLst>
            </p:cNvPr>
            <p:cNvSpPr>
              <a:spLocks/>
            </p:cNvSpPr>
            <p:nvPr/>
          </p:nvSpPr>
          <p:spPr bwMode="auto">
            <a:xfrm>
              <a:off x="2313388" y="5011254"/>
              <a:ext cx="865599" cy="1296020"/>
            </a:xfrm>
            <a:custGeom>
              <a:avLst/>
              <a:gdLst>
                <a:gd name="T0" fmla="*/ 2383 w 3375"/>
                <a:gd name="T1" fmla="*/ 5054 h 5054"/>
                <a:gd name="T2" fmla="*/ 2622 w 3375"/>
                <a:gd name="T3" fmla="*/ 1993 h 5054"/>
                <a:gd name="T4" fmla="*/ 1967 w 3375"/>
                <a:gd name="T5" fmla="*/ 1096 h 5054"/>
                <a:gd name="T6" fmla="*/ 668 w 3375"/>
                <a:gd name="T7" fmla="*/ 108 h 5054"/>
                <a:gd name="T8" fmla="*/ 235 w 3375"/>
                <a:gd name="T9" fmla="*/ 201 h 5054"/>
                <a:gd name="T10" fmla="*/ 1300 w 3375"/>
                <a:gd name="T11" fmla="*/ 2097 h 5054"/>
                <a:gd name="T12" fmla="*/ 2007 w 3375"/>
                <a:gd name="T13" fmla="*/ 3234 h 5054"/>
                <a:gd name="T14" fmla="*/ 961 w 3375"/>
                <a:gd name="T15" fmla="*/ 4993 h 5054"/>
                <a:gd name="T16" fmla="*/ 2383 w 3375"/>
                <a:gd name="T17" fmla="*/ 5054 h 5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75" h="5054">
                  <a:moveTo>
                    <a:pt x="2383" y="5054"/>
                  </a:moveTo>
                  <a:cubicBezTo>
                    <a:pt x="2343" y="5021"/>
                    <a:pt x="3375" y="2646"/>
                    <a:pt x="2622" y="1993"/>
                  </a:cubicBezTo>
                  <a:cubicBezTo>
                    <a:pt x="2391" y="1793"/>
                    <a:pt x="1967" y="1096"/>
                    <a:pt x="1967" y="1096"/>
                  </a:cubicBezTo>
                  <a:lnTo>
                    <a:pt x="668" y="108"/>
                  </a:lnTo>
                  <a:cubicBezTo>
                    <a:pt x="526" y="0"/>
                    <a:pt x="319" y="43"/>
                    <a:pt x="235" y="201"/>
                  </a:cubicBezTo>
                  <a:cubicBezTo>
                    <a:pt x="54" y="538"/>
                    <a:pt x="0" y="1195"/>
                    <a:pt x="1300" y="2097"/>
                  </a:cubicBezTo>
                  <a:cubicBezTo>
                    <a:pt x="1601" y="2306"/>
                    <a:pt x="1583" y="2947"/>
                    <a:pt x="2007" y="3234"/>
                  </a:cubicBezTo>
                  <a:cubicBezTo>
                    <a:pt x="2071" y="3278"/>
                    <a:pt x="961" y="4993"/>
                    <a:pt x="961" y="4993"/>
                  </a:cubicBezTo>
                  <a:lnTo>
                    <a:pt x="2383" y="5054"/>
                  </a:lnTo>
                </a:path>
              </a:pathLst>
            </a:custGeom>
            <a:solidFill>
              <a:srgbClr val="F3AC8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95" name="Freeform 19">
              <a:extLst>
                <a:ext uri="{FF2B5EF4-FFF2-40B4-BE49-F238E27FC236}">
                  <a16:creationId xmlns:a16="http://schemas.microsoft.com/office/drawing/2014/main" id="{9F1D4CAB-7C35-D84B-9C95-8FB74AF07466}"/>
                </a:ext>
              </a:extLst>
            </p:cNvPr>
            <p:cNvSpPr>
              <a:spLocks/>
            </p:cNvSpPr>
            <p:nvPr/>
          </p:nvSpPr>
          <p:spPr bwMode="auto">
            <a:xfrm>
              <a:off x="2395430" y="5090918"/>
              <a:ext cx="184297" cy="183107"/>
            </a:xfrm>
            <a:custGeom>
              <a:avLst/>
              <a:gdLst>
                <a:gd name="T0" fmla="*/ 719 w 719"/>
                <a:gd name="T1" fmla="*/ 537 h 717"/>
                <a:gd name="T2" fmla="*/ 697 w 719"/>
                <a:gd name="T3" fmla="*/ 516 h 717"/>
                <a:gd name="T4" fmla="*/ 123 w 719"/>
                <a:gd name="T5" fmla="*/ 14 h 717"/>
                <a:gd name="T6" fmla="*/ 133 w 719"/>
                <a:gd name="T7" fmla="*/ 0 h 717"/>
                <a:gd name="T8" fmla="*/ 44 w 719"/>
                <a:gd name="T9" fmla="*/ 283 h 717"/>
                <a:gd name="T10" fmla="*/ 459 w 719"/>
                <a:gd name="T11" fmla="*/ 669 h 717"/>
                <a:gd name="T12" fmla="*/ 719 w 719"/>
                <a:gd name="T13" fmla="*/ 537 h 717"/>
              </a:gdLst>
              <a:ahLst/>
              <a:cxnLst>
                <a:cxn ang="0">
                  <a:pos x="T0" y="T1"/>
                </a:cxn>
                <a:cxn ang="0">
                  <a:pos x="T2" y="T3"/>
                </a:cxn>
                <a:cxn ang="0">
                  <a:pos x="T4" y="T5"/>
                </a:cxn>
                <a:cxn ang="0">
                  <a:pos x="T6" y="T7"/>
                </a:cxn>
                <a:cxn ang="0">
                  <a:pos x="T8" y="T9"/>
                </a:cxn>
                <a:cxn ang="0">
                  <a:pos x="T10" y="T11"/>
                </a:cxn>
                <a:cxn ang="0">
                  <a:pos x="T12" y="T13"/>
                </a:cxn>
              </a:cxnLst>
              <a:rect l="0" t="0" r="r" b="b"/>
              <a:pathLst>
                <a:path w="719" h="717">
                  <a:moveTo>
                    <a:pt x="719" y="537"/>
                  </a:moveTo>
                  <a:lnTo>
                    <a:pt x="697" y="516"/>
                  </a:lnTo>
                  <a:lnTo>
                    <a:pt x="123" y="14"/>
                  </a:lnTo>
                  <a:lnTo>
                    <a:pt x="133" y="0"/>
                  </a:lnTo>
                  <a:cubicBezTo>
                    <a:pt x="47" y="99"/>
                    <a:pt x="0" y="235"/>
                    <a:pt x="44" y="283"/>
                  </a:cubicBezTo>
                  <a:lnTo>
                    <a:pt x="459" y="669"/>
                  </a:lnTo>
                  <a:cubicBezTo>
                    <a:pt x="503" y="717"/>
                    <a:pt x="633" y="635"/>
                    <a:pt x="719" y="53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96" name="Freeform 20">
              <a:extLst>
                <a:ext uri="{FF2B5EF4-FFF2-40B4-BE49-F238E27FC236}">
                  <a16:creationId xmlns:a16="http://schemas.microsoft.com/office/drawing/2014/main" id="{BB3747D4-18AF-284A-8F4E-6FE5933969F5}"/>
                </a:ext>
              </a:extLst>
            </p:cNvPr>
            <p:cNvSpPr>
              <a:spLocks/>
            </p:cNvSpPr>
            <p:nvPr/>
          </p:nvSpPr>
          <p:spPr bwMode="auto">
            <a:xfrm>
              <a:off x="2418020" y="5057625"/>
              <a:ext cx="185485" cy="183107"/>
            </a:xfrm>
            <a:custGeom>
              <a:avLst/>
              <a:gdLst>
                <a:gd name="T0" fmla="*/ 0 w 719"/>
                <a:gd name="T1" fmla="*/ 180 h 717"/>
                <a:gd name="T2" fmla="*/ 22 w 719"/>
                <a:gd name="T3" fmla="*/ 200 h 717"/>
                <a:gd name="T4" fmla="*/ 595 w 719"/>
                <a:gd name="T5" fmla="*/ 703 h 717"/>
                <a:gd name="T6" fmla="*/ 586 w 719"/>
                <a:gd name="T7" fmla="*/ 717 h 717"/>
                <a:gd name="T8" fmla="*/ 675 w 719"/>
                <a:gd name="T9" fmla="*/ 434 h 717"/>
                <a:gd name="T10" fmla="*/ 259 w 719"/>
                <a:gd name="T11" fmla="*/ 48 h 717"/>
                <a:gd name="T12" fmla="*/ 0 w 719"/>
                <a:gd name="T13" fmla="*/ 180 h 717"/>
              </a:gdLst>
              <a:ahLst/>
              <a:cxnLst>
                <a:cxn ang="0">
                  <a:pos x="T0" y="T1"/>
                </a:cxn>
                <a:cxn ang="0">
                  <a:pos x="T2" y="T3"/>
                </a:cxn>
                <a:cxn ang="0">
                  <a:pos x="T4" y="T5"/>
                </a:cxn>
                <a:cxn ang="0">
                  <a:pos x="T6" y="T7"/>
                </a:cxn>
                <a:cxn ang="0">
                  <a:pos x="T8" y="T9"/>
                </a:cxn>
                <a:cxn ang="0">
                  <a:pos x="T10" y="T11"/>
                </a:cxn>
                <a:cxn ang="0">
                  <a:pos x="T12" y="T13"/>
                </a:cxn>
              </a:cxnLst>
              <a:rect l="0" t="0" r="r" b="b"/>
              <a:pathLst>
                <a:path w="719" h="717">
                  <a:moveTo>
                    <a:pt x="0" y="180"/>
                  </a:moveTo>
                  <a:lnTo>
                    <a:pt x="22" y="200"/>
                  </a:lnTo>
                  <a:lnTo>
                    <a:pt x="595" y="703"/>
                  </a:lnTo>
                  <a:lnTo>
                    <a:pt x="586" y="717"/>
                  </a:lnTo>
                  <a:cubicBezTo>
                    <a:pt x="672" y="618"/>
                    <a:pt x="719" y="481"/>
                    <a:pt x="675" y="434"/>
                  </a:cubicBezTo>
                  <a:lnTo>
                    <a:pt x="259" y="48"/>
                  </a:lnTo>
                  <a:cubicBezTo>
                    <a:pt x="216" y="0"/>
                    <a:pt x="86" y="81"/>
                    <a:pt x="0" y="1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97" name="Freeform 21">
              <a:extLst>
                <a:ext uri="{FF2B5EF4-FFF2-40B4-BE49-F238E27FC236}">
                  <a16:creationId xmlns:a16="http://schemas.microsoft.com/office/drawing/2014/main" id="{C4645670-9337-864B-A962-6BE00A0BBBC0}"/>
                </a:ext>
              </a:extLst>
            </p:cNvPr>
            <p:cNvSpPr>
              <a:spLocks/>
            </p:cNvSpPr>
            <p:nvPr/>
          </p:nvSpPr>
          <p:spPr bwMode="auto">
            <a:xfrm>
              <a:off x="2127902" y="5024333"/>
              <a:ext cx="580237" cy="781180"/>
            </a:xfrm>
            <a:custGeom>
              <a:avLst/>
              <a:gdLst>
                <a:gd name="T0" fmla="*/ 1234 w 2265"/>
                <a:gd name="T1" fmla="*/ 0 h 3047"/>
                <a:gd name="T2" fmla="*/ 1762 w 2265"/>
                <a:gd name="T3" fmla="*/ 1945 h 3047"/>
                <a:gd name="T4" fmla="*/ 2114 w 2265"/>
                <a:gd name="T5" fmla="*/ 3047 h 3047"/>
                <a:gd name="T6" fmla="*/ 2265 w 2265"/>
                <a:gd name="T7" fmla="*/ 2391 h 3047"/>
                <a:gd name="T8" fmla="*/ 2027 w 2265"/>
                <a:gd name="T9" fmla="*/ 1761 h 3047"/>
                <a:gd name="T10" fmla="*/ 1199 w 2265"/>
                <a:gd name="T11" fmla="*/ 101 h 3047"/>
                <a:gd name="T12" fmla="*/ 1234 w 2265"/>
                <a:gd name="T13" fmla="*/ 0 h 3047"/>
              </a:gdLst>
              <a:ahLst/>
              <a:cxnLst>
                <a:cxn ang="0">
                  <a:pos x="T0" y="T1"/>
                </a:cxn>
                <a:cxn ang="0">
                  <a:pos x="T2" y="T3"/>
                </a:cxn>
                <a:cxn ang="0">
                  <a:pos x="T4" y="T5"/>
                </a:cxn>
                <a:cxn ang="0">
                  <a:pos x="T6" y="T7"/>
                </a:cxn>
                <a:cxn ang="0">
                  <a:pos x="T8" y="T9"/>
                </a:cxn>
                <a:cxn ang="0">
                  <a:pos x="T10" y="T11"/>
                </a:cxn>
                <a:cxn ang="0">
                  <a:pos x="T12" y="T13"/>
                </a:cxn>
              </a:cxnLst>
              <a:rect l="0" t="0" r="r" b="b"/>
              <a:pathLst>
                <a:path w="2265" h="3047">
                  <a:moveTo>
                    <a:pt x="1234" y="0"/>
                  </a:moveTo>
                  <a:cubicBezTo>
                    <a:pt x="1234" y="0"/>
                    <a:pt x="0" y="97"/>
                    <a:pt x="1762" y="1945"/>
                  </a:cubicBezTo>
                  <a:lnTo>
                    <a:pt x="2114" y="3047"/>
                  </a:lnTo>
                  <a:lnTo>
                    <a:pt x="2265" y="2391"/>
                  </a:lnTo>
                  <a:lnTo>
                    <a:pt x="2027" y="1761"/>
                  </a:lnTo>
                  <a:cubicBezTo>
                    <a:pt x="2027" y="1761"/>
                    <a:pt x="298" y="722"/>
                    <a:pt x="1199" y="101"/>
                  </a:cubicBezTo>
                  <a:lnTo>
                    <a:pt x="1234" y="0"/>
                  </a:lnTo>
                  <a:close/>
                </a:path>
              </a:pathLst>
            </a:custGeom>
            <a:solidFill>
              <a:srgbClr val="EF915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98" name="Freeform 22">
              <a:extLst>
                <a:ext uri="{FF2B5EF4-FFF2-40B4-BE49-F238E27FC236}">
                  <a16:creationId xmlns:a16="http://schemas.microsoft.com/office/drawing/2014/main" id="{58DBE7FD-B927-9C4A-AF44-15FFAAF8AC76}"/>
                </a:ext>
              </a:extLst>
            </p:cNvPr>
            <p:cNvSpPr>
              <a:spLocks/>
            </p:cNvSpPr>
            <p:nvPr/>
          </p:nvSpPr>
          <p:spPr bwMode="auto">
            <a:xfrm>
              <a:off x="2060129" y="5489236"/>
              <a:ext cx="1351904" cy="1233003"/>
            </a:xfrm>
            <a:custGeom>
              <a:avLst/>
              <a:gdLst>
                <a:gd name="T0" fmla="*/ 0 w 5270"/>
                <a:gd name="T1" fmla="*/ 0 h 4809"/>
                <a:gd name="T2" fmla="*/ 0 w 5270"/>
                <a:gd name="T3" fmla="*/ 0 h 4809"/>
                <a:gd name="T4" fmla="*/ 593 w 5270"/>
                <a:gd name="T5" fmla="*/ 2597 h 4809"/>
                <a:gd name="T6" fmla="*/ 1297 w 5270"/>
                <a:gd name="T7" fmla="*/ 3825 h 4809"/>
                <a:gd name="T8" fmla="*/ 1393 w 5270"/>
                <a:gd name="T9" fmla="*/ 3914 h 4809"/>
                <a:gd name="T10" fmla="*/ 1748 w 5270"/>
                <a:gd name="T11" fmla="*/ 4809 h 4809"/>
                <a:gd name="T12" fmla="*/ 5270 w 5270"/>
                <a:gd name="T13" fmla="*/ 3975 h 4809"/>
                <a:gd name="T14" fmla="*/ 4043 w 5270"/>
                <a:gd name="T15" fmla="*/ 1683 h 4809"/>
                <a:gd name="T16" fmla="*/ 1001 w 5270"/>
                <a:gd name="T17" fmla="*/ 689 h 4809"/>
                <a:gd name="T18" fmla="*/ 711 w 5270"/>
                <a:gd name="T19" fmla="*/ 134 h 4809"/>
                <a:gd name="T20" fmla="*/ 0 w 5270"/>
                <a:gd name="T21" fmla="*/ 0 h 4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70" h="4809">
                  <a:moveTo>
                    <a:pt x="0" y="0"/>
                  </a:moveTo>
                  <a:lnTo>
                    <a:pt x="0" y="0"/>
                  </a:lnTo>
                  <a:lnTo>
                    <a:pt x="593" y="2597"/>
                  </a:lnTo>
                  <a:cubicBezTo>
                    <a:pt x="700" y="3067"/>
                    <a:pt x="945" y="3495"/>
                    <a:pt x="1297" y="3825"/>
                  </a:cubicBezTo>
                  <a:lnTo>
                    <a:pt x="1393" y="3914"/>
                  </a:lnTo>
                  <a:lnTo>
                    <a:pt x="1748" y="4809"/>
                  </a:lnTo>
                  <a:lnTo>
                    <a:pt x="5270" y="3975"/>
                  </a:lnTo>
                  <a:lnTo>
                    <a:pt x="4043" y="1683"/>
                  </a:lnTo>
                  <a:cubicBezTo>
                    <a:pt x="4043" y="1683"/>
                    <a:pt x="1090" y="724"/>
                    <a:pt x="1001" y="689"/>
                  </a:cubicBezTo>
                  <a:cubicBezTo>
                    <a:pt x="912" y="654"/>
                    <a:pt x="711" y="134"/>
                    <a:pt x="711" y="134"/>
                  </a:cubicBezTo>
                  <a:lnTo>
                    <a:pt x="0" y="0"/>
                  </a:lnTo>
                </a:path>
              </a:pathLst>
            </a:custGeom>
            <a:solidFill>
              <a:srgbClr val="F3AC8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99" name="Freeform 23">
              <a:extLst>
                <a:ext uri="{FF2B5EF4-FFF2-40B4-BE49-F238E27FC236}">
                  <a16:creationId xmlns:a16="http://schemas.microsoft.com/office/drawing/2014/main" id="{4900131C-5B9C-5947-AD39-986886EC9A6B}"/>
                </a:ext>
              </a:extLst>
            </p:cNvPr>
            <p:cNvSpPr>
              <a:spLocks/>
            </p:cNvSpPr>
            <p:nvPr/>
          </p:nvSpPr>
          <p:spPr bwMode="auto">
            <a:xfrm>
              <a:off x="2387106" y="5620027"/>
              <a:ext cx="335301" cy="787124"/>
            </a:xfrm>
            <a:custGeom>
              <a:avLst/>
              <a:gdLst>
                <a:gd name="T0" fmla="*/ 1172 w 1307"/>
                <a:gd name="T1" fmla="*/ 0 h 3068"/>
                <a:gd name="T2" fmla="*/ 789 w 1307"/>
                <a:gd name="T3" fmla="*/ 3068 h 3068"/>
                <a:gd name="T4" fmla="*/ 1307 w 1307"/>
                <a:gd name="T5" fmla="*/ 294 h 3068"/>
                <a:gd name="T6" fmla="*/ 1172 w 1307"/>
                <a:gd name="T7" fmla="*/ 0 h 3068"/>
              </a:gdLst>
              <a:ahLst/>
              <a:cxnLst>
                <a:cxn ang="0">
                  <a:pos x="T0" y="T1"/>
                </a:cxn>
                <a:cxn ang="0">
                  <a:pos x="T2" y="T3"/>
                </a:cxn>
                <a:cxn ang="0">
                  <a:pos x="T4" y="T5"/>
                </a:cxn>
                <a:cxn ang="0">
                  <a:pos x="T6" y="T7"/>
                </a:cxn>
              </a:cxnLst>
              <a:rect l="0" t="0" r="r" b="b"/>
              <a:pathLst>
                <a:path w="1307" h="3068">
                  <a:moveTo>
                    <a:pt x="1172" y="0"/>
                  </a:moveTo>
                  <a:cubicBezTo>
                    <a:pt x="1172" y="0"/>
                    <a:pt x="0" y="1953"/>
                    <a:pt x="789" y="3068"/>
                  </a:cubicBezTo>
                  <a:cubicBezTo>
                    <a:pt x="789" y="3068"/>
                    <a:pt x="648" y="2133"/>
                    <a:pt x="1307" y="294"/>
                  </a:cubicBezTo>
                  <a:lnTo>
                    <a:pt x="1172" y="0"/>
                  </a:lnTo>
                </a:path>
              </a:pathLst>
            </a:custGeom>
            <a:solidFill>
              <a:srgbClr val="EF915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00" name="Freeform 24">
              <a:extLst>
                <a:ext uri="{FF2B5EF4-FFF2-40B4-BE49-F238E27FC236}">
                  <a16:creationId xmlns:a16="http://schemas.microsoft.com/office/drawing/2014/main" id="{AA1A1E68-0132-8040-AD62-1580A84D7082}"/>
                </a:ext>
              </a:extLst>
            </p:cNvPr>
            <p:cNvSpPr>
              <a:spLocks/>
            </p:cNvSpPr>
            <p:nvPr/>
          </p:nvSpPr>
          <p:spPr bwMode="auto">
            <a:xfrm>
              <a:off x="2923350" y="5197928"/>
              <a:ext cx="193809" cy="667035"/>
            </a:xfrm>
            <a:custGeom>
              <a:avLst/>
              <a:gdLst>
                <a:gd name="T0" fmla="*/ 0 w 756"/>
                <a:gd name="T1" fmla="*/ 958 h 2600"/>
                <a:gd name="T2" fmla="*/ 756 w 756"/>
                <a:gd name="T3" fmla="*/ 2600 h 2600"/>
                <a:gd name="T4" fmla="*/ 184 w 756"/>
                <a:gd name="T5" fmla="*/ 0 h 2600"/>
                <a:gd name="T6" fmla="*/ 0 w 756"/>
                <a:gd name="T7" fmla="*/ 958 h 2600"/>
              </a:gdLst>
              <a:ahLst/>
              <a:cxnLst>
                <a:cxn ang="0">
                  <a:pos x="T0" y="T1"/>
                </a:cxn>
                <a:cxn ang="0">
                  <a:pos x="T2" y="T3"/>
                </a:cxn>
                <a:cxn ang="0">
                  <a:pos x="T4" y="T5"/>
                </a:cxn>
                <a:cxn ang="0">
                  <a:pos x="T6" y="T7"/>
                </a:cxn>
              </a:cxnLst>
              <a:rect l="0" t="0" r="r" b="b"/>
              <a:pathLst>
                <a:path w="756" h="2600">
                  <a:moveTo>
                    <a:pt x="0" y="958"/>
                  </a:moveTo>
                  <a:lnTo>
                    <a:pt x="756" y="2600"/>
                  </a:lnTo>
                  <a:lnTo>
                    <a:pt x="184" y="0"/>
                  </a:lnTo>
                  <a:lnTo>
                    <a:pt x="0" y="958"/>
                  </a:lnTo>
                  <a:close/>
                </a:path>
              </a:pathLst>
            </a:custGeom>
            <a:solidFill>
              <a:srgbClr val="EF915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01" name="Freeform 25">
              <a:extLst>
                <a:ext uri="{FF2B5EF4-FFF2-40B4-BE49-F238E27FC236}">
                  <a16:creationId xmlns:a16="http://schemas.microsoft.com/office/drawing/2014/main" id="{C5D2F9D9-7A14-7A41-9D3C-6D109D31F15A}"/>
                </a:ext>
              </a:extLst>
            </p:cNvPr>
            <p:cNvSpPr>
              <a:spLocks/>
            </p:cNvSpPr>
            <p:nvPr/>
          </p:nvSpPr>
          <p:spPr bwMode="auto">
            <a:xfrm>
              <a:off x="2058940" y="5479724"/>
              <a:ext cx="266338" cy="112956"/>
            </a:xfrm>
            <a:custGeom>
              <a:avLst/>
              <a:gdLst>
                <a:gd name="T0" fmla="*/ 144 w 224"/>
                <a:gd name="T1" fmla="*/ 0 h 95"/>
                <a:gd name="T2" fmla="*/ 0 w 224"/>
                <a:gd name="T3" fmla="*/ 0 h 95"/>
                <a:gd name="T4" fmla="*/ 19 w 224"/>
                <a:gd name="T5" fmla="*/ 95 h 95"/>
                <a:gd name="T6" fmla="*/ 198 w 224"/>
                <a:gd name="T7" fmla="*/ 94 h 95"/>
                <a:gd name="T8" fmla="*/ 224 w 224"/>
                <a:gd name="T9" fmla="*/ 0 h 95"/>
                <a:gd name="T10" fmla="*/ 144 w 224"/>
                <a:gd name="T11" fmla="*/ 0 h 95"/>
              </a:gdLst>
              <a:ahLst/>
              <a:cxnLst>
                <a:cxn ang="0">
                  <a:pos x="T0" y="T1"/>
                </a:cxn>
                <a:cxn ang="0">
                  <a:pos x="T2" y="T3"/>
                </a:cxn>
                <a:cxn ang="0">
                  <a:pos x="T4" y="T5"/>
                </a:cxn>
                <a:cxn ang="0">
                  <a:pos x="T6" y="T7"/>
                </a:cxn>
                <a:cxn ang="0">
                  <a:pos x="T8" y="T9"/>
                </a:cxn>
                <a:cxn ang="0">
                  <a:pos x="T10" y="T11"/>
                </a:cxn>
              </a:cxnLst>
              <a:rect l="0" t="0" r="r" b="b"/>
              <a:pathLst>
                <a:path w="224" h="95">
                  <a:moveTo>
                    <a:pt x="144" y="0"/>
                  </a:moveTo>
                  <a:lnTo>
                    <a:pt x="0" y="0"/>
                  </a:lnTo>
                  <a:lnTo>
                    <a:pt x="19" y="95"/>
                  </a:lnTo>
                  <a:lnTo>
                    <a:pt x="198" y="94"/>
                  </a:lnTo>
                  <a:lnTo>
                    <a:pt x="224" y="0"/>
                  </a:lnTo>
                  <a:lnTo>
                    <a:pt x="144" y="0"/>
                  </a:lnTo>
                  <a:close/>
                </a:path>
              </a:pathLst>
            </a:custGeom>
            <a:solidFill>
              <a:srgbClr val="EF915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02" name="Freeform 26">
              <a:extLst>
                <a:ext uri="{FF2B5EF4-FFF2-40B4-BE49-F238E27FC236}">
                  <a16:creationId xmlns:a16="http://schemas.microsoft.com/office/drawing/2014/main" id="{1B1F293F-C5F6-0F4E-9AA3-BE2E001B484C}"/>
                </a:ext>
              </a:extLst>
            </p:cNvPr>
            <p:cNvSpPr>
              <a:spLocks/>
            </p:cNvSpPr>
            <p:nvPr/>
          </p:nvSpPr>
          <p:spPr bwMode="auto">
            <a:xfrm>
              <a:off x="806913" y="3938768"/>
              <a:ext cx="1152151" cy="505329"/>
            </a:xfrm>
            <a:custGeom>
              <a:avLst/>
              <a:gdLst>
                <a:gd name="T0" fmla="*/ 3982 w 4493"/>
                <a:gd name="T1" fmla="*/ 1970 h 1970"/>
                <a:gd name="T2" fmla="*/ 511 w 4493"/>
                <a:gd name="T3" fmla="*/ 1970 h 1970"/>
                <a:gd name="T4" fmla="*/ 0 w 4493"/>
                <a:gd name="T5" fmla="*/ 1459 h 1970"/>
                <a:gd name="T6" fmla="*/ 0 w 4493"/>
                <a:gd name="T7" fmla="*/ 511 h 1970"/>
                <a:gd name="T8" fmla="*/ 511 w 4493"/>
                <a:gd name="T9" fmla="*/ 0 h 1970"/>
                <a:gd name="T10" fmla="*/ 3982 w 4493"/>
                <a:gd name="T11" fmla="*/ 0 h 1970"/>
                <a:gd name="T12" fmla="*/ 4493 w 4493"/>
                <a:gd name="T13" fmla="*/ 511 h 1970"/>
                <a:gd name="T14" fmla="*/ 4493 w 4493"/>
                <a:gd name="T15" fmla="*/ 1459 h 1970"/>
                <a:gd name="T16" fmla="*/ 3982 w 4493"/>
                <a:gd name="T17" fmla="*/ 1970 h 19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93" h="1970">
                  <a:moveTo>
                    <a:pt x="3982" y="1970"/>
                  </a:moveTo>
                  <a:lnTo>
                    <a:pt x="511" y="1970"/>
                  </a:lnTo>
                  <a:cubicBezTo>
                    <a:pt x="230" y="1970"/>
                    <a:pt x="0" y="1740"/>
                    <a:pt x="0" y="1459"/>
                  </a:cubicBezTo>
                  <a:lnTo>
                    <a:pt x="0" y="511"/>
                  </a:lnTo>
                  <a:cubicBezTo>
                    <a:pt x="0" y="230"/>
                    <a:pt x="230" y="0"/>
                    <a:pt x="511" y="0"/>
                  </a:cubicBezTo>
                  <a:lnTo>
                    <a:pt x="3982" y="0"/>
                  </a:lnTo>
                  <a:cubicBezTo>
                    <a:pt x="4263" y="0"/>
                    <a:pt x="4493" y="230"/>
                    <a:pt x="4493" y="511"/>
                  </a:cubicBezTo>
                  <a:lnTo>
                    <a:pt x="4493" y="1459"/>
                  </a:lnTo>
                  <a:cubicBezTo>
                    <a:pt x="4493" y="1740"/>
                    <a:pt x="4263" y="1970"/>
                    <a:pt x="3982" y="1970"/>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03" name="Freeform 27">
              <a:extLst>
                <a:ext uri="{FF2B5EF4-FFF2-40B4-BE49-F238E27FC236}">
                  <a16:creationId xmlns:a16="http://schemas.microsoft.com/office/drawing/2014/main" id="{0A5C0D10-CAD8-1B48-A056-D8B86549EC5E}"/>
                </a:ext>
              </a:extLst>
            </p:cNvPr>
            <p:cNvSpPr>
              <a:spLocks/>
            </p:cNvSpPr>
            <p:nvPr/>
          </p:nvSpPr>
          <p:spPr bwMode="auto">
            <a:xfrm>
              <a:off x="1741474" y="4280013"/>
              <a:ext cx="261582" cy="199754"/>
            </a:xfrm>
            <a:custGeom>
              <a:avLst/>
              <a:gdLst>
                <a:gd name="T0" fmla="*/ 1020 w 1020"/>
                <a:gd name="T1" fmla="*/ 779 h 779"/>
                <a:gd name="T2" fmla="*/ 537 w 1020"/>
                <a:gd name="T3" fmla="*/ 0 h 779"/>
                <a:gd name="T4" fmla="*/ 0 w 1020"/>
                <a:gd name="T5" fmla="*/ 553 h 779"/>
                <a:gd name="T6" fmla="*/ 1020 w 1020"/>
                <a:gd name="T7" fmla="*/ 779 h 779"/>
              </a:gdLst>
              <a:ahLst/>
              <a:cxnLst>
                <a:cxn ang="0">
                  <a:pos x="T0" y="T1"/>
                </a:cxn>
                <a:cxn ang="0">
                  <a:pos x="T2" y="T3"/>
                </a:cxn>
                <a:cxn ang="0">
                  <a:pos x="T4" y="T5"/>
                </a:cxn>
                <a:cxn ang="0">
                  <a:pos x="T6" y="T7"/>
                </a:cxn>
              </a:cxnLst>
              <a:rect l="0" t="0" r="r" b="b"/>
              <a:pathLst>
                <a:path w="1020" h="779">
                  <a:moveTo>
                    <a:pt x="1020" y="779"/>
                  </a:moveTo>
                  <a:lnTo>
                    <a:pt x="537" y="0"/>
                  </a:lnTo>
                  <a:lnTo>
                    <a:pt x="0" y="553"/>
                  </a:lnTo>
                  <a:lnTo>
                    <a:pt x="1020" y="779"/>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04" name="Freeform 28">
              <a:extLst>
                <a:ext uri="{FF2B5EF4-FFF2-40B4-BE49-F238E27FC236}">
                  <a16:creationId xmlns:a16="http://schemas.microsoft.com/office/drawing/2014/main" id="{39B50711-5FEA-C341-8129-42512983D806}"/>
                </a:ext>
              </a:extLst>
            </p:cNvPr>
            <p:cNvSpPr>
              <a:spLocks/>
            </p:cNvSpPr>
            <p:nvPr/>
          </p:nvSpPr>
          <p:spPr bwMode="auto">
            <a:xfrm>
              <a:off x="1382394" y="4087393"/>
              <a:ext cx="412587" cy="33292"/>
            </a:xfrm>
            <a:custGeom>
              <a:avLst/>
              <a:gdLst>
                <a:gd name="T0" fmla="*/ 64 w 1608"/>
                <a:gd name="T1" fmla="*/ 127 h 127"/>
                <a:gd name="T2" fmla="*/ 1545 w 1608"/>
                <a:gd name="T3" fmla="*/ 127 h 127"/>
                <a:gd name="T4" fmla="*/ 1608 w 1608"/>
                <a:gd name="T5" fmla="*/ 64 h 127"/>
                <a:gd name="T6" fmla="*/ 1608 w 1608"/>
                <a:gd name="T7" fmla="*/ 64 h 127"/>
                <a:gd name="T8" fmla="*/ 1545 w 1608"/>
                <a:gd name="T9" fmla="*/ 0 h 127"/>
                <a:gd name="T10" fmla="*/ 64 w 1608"/>
                <a:gd name="T11" fmla="*/ 0 h 127"/>
                <a:gd name="T12" fmla="*/ 0 w 1608"/>
                <a:gd name="T13" fmla="*/ 64 h 127"/>
                <a:gd name="T14" fmla="*/ 0 w 1608"/>
                <a:gd name="T15" fmla="*/ 64 h 127"/>
                <a:gd name="T16" fmla="*/ 64 w 160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8" h="127">
                  <a:moveTo>
                    <a:pt x="64" y="127"/>
                  </a:moveTo>
                  <a:lnTo>
                    <a:pt x="1545" y="127"/>
                  </a:lnTo>
                  <a:cubicBezTo>
                    <a:pt x="1580" y="127"/>
                    <a:pt x="1608" y="98"/>
                    <a:pt x="1608" y="64"/>
                  </a:cubicBezTo>
                  <a:lnTo>
                    <a:pt x="1608" y="64"/>
                  </a:lnTo>
                  <a:cubicBezTo>
                    <a:pt x="1608" y="29"/>
                    <a:pt x="1580" y="0"/>
                    <a:pt x="1545" y="0"/>
                  </a:cubicBezTo>
                  <a:lnTo>
                    <a:pt x="64" y="0"/>
                  </a:lnTo>
                  <a:cubicBezTo>
                    <a:pt x="29" y="0"/>
                    <a:pt x="0" y="29"/>
                    <a:pt x="0" y="64"/>
                  </a:cubicBezTo>
                  <a:lnTo>
                    <a:pt x="0" y="64"/>
                  </a:lnTo>
                  <a:cubicBezTo>
                    <a:pt x="0" y="98"/>
                    <a:pt x="29" y="127"/>
                    <a:pt x="64" y="127"/>
                  </a:cubicBezTo>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07" name="Freeform 29">
              <a:extLst>
                <a:ext uri="{FF2B5EF4-FFF2-40B4-BE49-F238E27FC236}">
                  <a16:creationId xmlns:a16="http://schemas.microsoft.com/office/drawing/2014/main" id="{A02BF3BC-7A6C-C841-B764-6005F078BD57}"/>
                </a:ext>
              </a:extLst>
            </p:cNvPr>
            <p:cNvSpPr>
              <a:spLocks/>
            </p:cNvSpPr>
            <p:nvPr/>
          </p:nvSpPr>
          <p:spPr bwMode="auto">
            <a:xfrm>
              <a:off x="932948" y="4087393"/>
              <a:ext cx="411397" cy="33292"/>
            </a:xfrm>
            <a:custGeom>
              <a:avLst/>
              <a:gdLst>
                <a:gd name="T0" fmla="*/ 63 w 1608"/>
                <a:gd name="T1" fmla="*/ 127 h 127"/>
                <a:gd name="T2" fmla="*/ 1545 w 1608"/>
                <a:gd name="T3" fmla="*/ 127 h 127"/>
                <a:gd name="T4" fmla="*/ 1608 w 1608"/>
                <a:gd name="T5" fmla="*/ 64 h 127"/>
                <a:gd name="T6" fmla="*/ 1608 w 1608"/>
                <a:gd name="T7" fmla="*/ 64 h 127"/>
                <a:gd name="T8" fmla="*/ 1545 w 1608"/>
                <a:gd name="T9" fmla="*/ 0 h 127"/>
                <a:gd name="T10" fmla="*/ 63 w 1608"/>
                <a:gd name="T11" fmla="*/ 0 h 127"/>
                <a:gd name="T12" fmla="*/ 0 w 1608"/>
                <a:gd name="T13" fmla="*/ 64 h 127"/>
                <a:gd name="T14" fmla="*/ 0 w 1608"/>
                <a:gd name="T15" fmla="*/ 64 h 127"/>
                <a:gd name="T16" fmla="*/ 63 w 160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8" h="127">
                  <a:moveTo>
                    <a:pt x="63" y="127"/>
                  </a:moveTo>
                  <a:lnTo>
                    <a:pt x="1545" y="127"/>
                  </a:lnTo>
                  <a:cubicBezTo>
                    <a:pt x="1580" y="127"/>
                    <a:pt x="1608" y="98"/>
                    <a:pt x="1608" y="64"/>
                  </a:cubicBezTo>
                  <a:lnTo>
                    <a:pt x="1608" y="64"/>
                  </a:lnTo>
                  <a:cubicBezTo>
                    <a:pt x="1608" y="29"/>
                    <a:pt x="1580" y="0"/>
                    <a:pt x="1545" y="0"/>
                  </a:cubicBezTo>
                  <a:lnTo>
                    <a:pt x="63" y="0"/>
                  </a:lnTo>
                  <a:cubicBezTo>
                    <a:pt x="29" y="0"/>
                    <a:pt x="0" y="29"/>
                    <a:pt x="0" y="64"/>
                  </a:cubicBezTo>
                  <a:lnTo>
                    <a:pt x="0" y="64"/>
                  </a:lnTo>
                  <a:cubicBezTo>
                    <a:pt x="0" y="98"/>
                    <a:pt x="29" y="127"/>
                    <a:pt x="63" y="127"/>
                  </a:cubicBez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08" name="Freeform 30">
              <a:extLst>
                <a:ext uri="{FF2B5EF4-FFF2-40B4-BE49-F238E27FC236}">
                  <a16:creationId xmlns:a16="http://schemas.microsoft.com/office/drawing/2014/main" id="{B03BD89F-2B8C-DC46-833F-7BF2CAF2E123}"/>
                </a:ext>
              </a:extLst>
            </p:cNvPr>
            <p:cNvSpPr>
              <a:spLocks/>
            </p:cNvSpPr>
            <p:nvPr/>
          </p:nvSpPr>
          <p:spPr bwMode="auto">
            <a:xfrm>
              <a:off x="1168372" y="4263367"/>
              <a:ext cx="626608" cy="32104"/>
            </a:xfrm>
            <a:custGeom>
              <a:avLst/>
              <a:gdLst>
                <a:gd name="T0" fmla="*/ 63 w 2443"/>
                <a:gd name="T1" fmla="*/ 126 h 126"/>
                <a:gd name="T2" fmla="*/ 2380 w 2443"/>
                <a:gd name="T3" fmla="*/ 126 h 126"/>
                <a:gd name="T4" fmla="*/ 2443 w 2443"/>
                <a:gd name="T5" fmla="*/ 63 h 126"/>
                <a:gd name="T6" fmla="*/ 2443 w 2443"/>
                <a:gd name="T7" fmla="*/ 63 h 126"/>
                <a:gd name="T8" fmla="*/ 2380 w 2443"/>
                <a:gd name="T9" fmla="*/ 0 h 126"/>
                <a:gd name="T10" fmla="*/ 63 w 2443"/>
                <a:gd name="T11" fmla="*/ 0 h 126"/>
                <a:gd name="T12" fmla="*/ 0 w 2443"/>
                <a:gd name="T13" fmla="*/ 63 h 126"/>
                <a:gd name="T14" fmla="*/ 0 w 2443"/>
                <a:gd name="T15" fmla="*/ 63 h 126"/>
                <a:gd name="T16" fmla="*/ 63 w 2443"/>
                <a:gd name="T17"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43" h="126">
                  <a:moveTo>
                    <a:pt x="63" y="126"/>
                  </a:moveTo>
                  <a:lnTo>
                    <a:pt x="2380" y="126"/>
                  </a:lnTo>
                  <a:cubicBezTo>
                    <a:pt x="2415" y="126"/>
                    <a:pt x="2443" y="98"/>
                    <a:pt x="2443" y="63"/>
                  </a:cubicBezTo>
                  <a:lnTo>
                    <a:pt x="2443" y="63"/>
                  </a:lnTo>
                  <a:cubicBezTo>
                    <a:pt x="2443" y="28"/>
                    <a:pt x="2415" y="0"/>
                    <a:pt x="2380" y="0"/>
                  </a:cubicBezTo>
                  <a:lnTo>
                    <a:pt x="63" y="0"/>
                  </a:lnTo>
                  <a:cubicBezTo>
                    <a:pt x="29" y="0"/>
                    <a:pt x="0" y="28"/>
                    <a:pt x="0" y="63"/>
                  </a:cubicBezTo>
                  <a:lnTo>
                    <a:pt x="0" y="63"/>
                  </a:lnTo>
                  <a:cubicBezTo>
                    <a:pt x="0" y="98"/>
                    <a:pt x="29" y="126"/>
                    <a:pt x="63" y="126"/>
                  </a:cubicBez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09" name="Freeform 31">
              <a:extLst>
                <a:ext uri="{FF2B5EF4-FFF2-40B4-BE49-F238E27FC236}">
                  <a16:creationId xmlns:a16="http://schemas.microsoft.com/office/drawing/2014/main" id="{B48975BC-9928-E443-839F-A6354D475462}"/>
                </a:ext>
              </a:extLst>
            </p:cNvPr>
            <p:cNvSpPr>
              <a:spLocks/>
            </p:cNvSpPr>
            <p:nvPr/>
          </p:nvSpPr>
          <p:spPr bwMode="auto">
            <a:xfrm>
              <a:off x="922247" y="4263367"/>
              <a:ext cx="216400" cy="32104"/>
            </a:xfrm>
            <a:custGeom>
              <a:avLst/>
              <a:gdLst>
                <a:gd name="T0" fmla="*/ 63 w 843"/>
                <a:gd name="T1" fmla="*/ 126 h 126"/>
                <a:gd name="T2" fmla="*/ 780 w 843"/>
                <a:gd name="T3" fmla="*/ 126 h 126"/>
                <a:gd name="T4" fmla="*/ 843 w 843"/>
                <a:gd name="T5" fmla="*/ 63 h 126"/>
                <a:gd name="T6" fmla="*/ 843 w 843"/>
                <a:gd name="T7" fmla="*/ 63 h 126"/>
                <a:gd name="T8" fmla="*/ 780 w 843"/>
                <a:gd name="T9" fmla="*/ 0 h 126"/>
                <a:gd name="T10" fmla="*/ 63 w 843"/>
                <a:gd name="T11" fmla="*/ 0 h 126"/>
                <a:gd name="T12" fmla="*/ 0 w 843"/>
                <a:gd name="T13" fmla="*/ 63 h 126"/>
                <a:gd name="T14" fmla="*/ 0 w 843"/>
                <a:gd name="T15" fmla="*/ 63 h 126"/>
                <a:gd name="T16" fmla="*/ 63 w 843"/>
                <a:gd name="T17"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3" h="126">
                  <a:moveTo>
                    <a:pt x="63" y="126"/>
                  </a:moveTo>
                  <a:lnTo>
                    <a:pt x="780" y="126"/>
                  </a:lnTo>
                  <a:cubicBezTo>
                    <a:pt x="815" y="126"/>
                    <a:pt x="843" y="98"/>
                    <a:pt x="843" y="63"/>
                  </a:cubicBezTo>
                  <a:lnTo>
                    <a:pt x="843" y="63"/>
                  </a:lnTo>
                  <a:cubicBezTo>
                    <a:pt x="843" y="28"/>
                    <a:pt x="815" y="0"/>
                    <a:pt x="780" y="0"/>
                  </a:cubicBezTo>
                  <a:lnTo>
                    <a:pt x="63" y="0"/>
                  </a:lnTo>
                  <a:cubicBezTo>
                    <a:pt x="28" y="0"/>
                    <a:pt x="0" y="28"/>
                    <a:pt x="0" y="63"/>
                  </a:cubicBezTo>
                  <a:lnTo>
                    <a:pt x="0" y="63"/>
                  </a:lnTo>
                  <a:cubicBezTo>
                    <a:pt x="0" y="98"/>
                    <a:pt x="28" y="126"/>
                    <a:pt x="63" y="126"/>
                  </a:cubicBez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11" name="Freeform 32">
              <a:extLst>
                <a:ext uri="{FF2B5EF4-FFF2-40B4-BE49-F238E27FC236}">
                  <a16:creationId xmlns:a16="http://schemas.microsoft.com/office/drawing/2014/main" id="{337541BA-DDF8-F34A-A694-E2C5EF667740}"/>
                </a:ext>
              </a:extLst>
            </p:cNvPr>
            <p:cNvSpPr>
              <a:spLocks/>
            </p:cNvSpPr>
            <p:nvPr/>
          </p:nvSpPr>
          <p:spPr bwMode="auto">
            <a:xfrm>
              <a:off x="2344302" y="4426262"/>
              <a:ext cx="448257" cy="524354"/>
            </a:xfrm>
            <a:custGeom>
              <a:avLst/>
              <a:gdLst>
                <a:gd name="T0" fmla="*/ 873 w 1747"/>
                <a:gd name="T1" fmla="*/ 2042 h 2042"/>
                <a:gd name="T2" fmla="*/ 873 w 1747"/>
                <a:gd name="T3" fmla="*/ 2042 h 2042"/>
                <a:gd name="T4" fmla="*/ 0 w 1747"/>
                <a:gd name="T5" fmla="*/ 1169 h 2042"/>
                <a:gd name="T6" fmla="*/ 0 w 1747"/>
                <a:gd name="T7" fmla="*/ 873 h 2042"/>
                <a:gd name="T8" fmla="*/ 873 w 1747"/>
                <a:gd name="T9" fmla="*/ 0 h 2042"/>
                <a:gd name="T10" fmla="*/ 873 w 1747"/>
                <a:gd name="T11" fmla="*/ 0 h 2042"/>
                <a:gd name="T12" fmla="*/ 1747 w 1747"/>
                <a:gd name="T13" fmla="*/ 873 h 2042"/>
                <a:gd name="T14" fmla="*/ 1747 w 1747"/>
                <a:gd name="T15" fmla="*/ 1169 h 2042"/>
                <a:gd name="T16" fmla="*/ 873 w 1747"/>
                <a:gd name="T17" fmla="*/ 2042 h 2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7" h="2042">
                  <a:moveTo>
                    <a:pt x="873" y="2042"/>
                  </a:moveTo>
                  <a:lnTo>
                    <a:pt x="873" y="2042"/>
                  </a:lnTo>
                  <a:cubicBezTo>
                    <a:pt x="391" y="2042"/>
                    <a:pt x="0" y="1651"/>
                    <a:pt x="0" y="1169"/>
                  </a:cubicBezTo>
                  <a:lnTo>
                    <a:pt x="0" y="873"/>
                  </a:lnTo>
                  <a:cubicBezTo>
                    <a:pt x="0" y="391"/>
                    <a:pt x="391" y="0"/>
                    <a:pt x="873" y="0"/>
                  </a:cubicBezTo>
                  <a:lnTo>
                    <a:pt x="873" y="0"/>
                  </a:lnTo>
                  <a:cubicBezTo>
                    <a:pt x="1356" y="0"/>
                    <a:pt x="1747" y="391"/>
                    <a:pt x="1747" y="873"/>
                  </a:cubicBezTo>
                  <a:lnTo>
                    <a:pt x="1747" y="1169"/>
                  </a:lnTo>
                  <a:cubicBezTo>
                    <a:pt x="1747" y="1651"/>
                    <a:pt x="1356" y="2042"/>
                    <a:pt x="873" y="2042"/>
                  </a:cubicBezTo>
                  <a:close/>
                </a:path>
              </a:pathLst>
            </a:custGeom>
            <a:solidFill>
              <a:srgbClr val="D0DA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12" name="Freeform 33">
              <a:extLst>
                <a:ext uri="{FF2B5EF4-FFF2-40B4-BE49-F238E27FC236}">
                  <a16:creationId xmlns:a16="http://schemas.microsoft.com/office/drawing/2014/main" id="{951337F1-7B96-9C48-B6C2-10EC8C83D068}"/>
                </a:ext>
              </a:extLst>
            </p:cNvPr>
            <p:cNvSpPr>
              <a:spLocks/>
            </p:cNvSpPr>
            <p:nvPr/>
          </p:nvSpPr>
          <p:spPr bwMode="auto">
            <a:xfrm>
              <a:off x="2004245" y="3775873"/>
              <a:ext cx="448257" cy="524354"/>
            </a:xfrm>
            <a:custGeom>
              <a:avLst/>
              <a:gdLst>
                <a:gd name="T0" fmla="*/ 873 w 1746"/>
                <a:gd name="T1" fmla="*/ 2042 h 2042"/>
                <a:gd name="T2" fmla="*/ 873 w 1746"/>
                <a:gd name="T3" fmla="*/ 2042 h 2042"/>
                <a:gd name="T4" fmla="*/ 0 w 1746"/>
                <a:gd name="T5" fmla="*/ 1169 h 2042"/>
                <a:gd name="T6" fmla="*/ 0 w 1746"/>
                <a:gd name="T7" fmla="*/ 873 h 2042"/>
                <a:gd name="T8" fmla="*/ 873 w 1746"/>
                <a:gd name="T9" fmla="*/ 0 h 2042"/>
                <a:gd name="T10" fmla="*/ 873 w 1746"/>
                <a:gd name="T11" fmla="*/ 0 h 2042"/>
                <a:gd name="T12" fmla="*/ 1746 w 1746"/>
                <a:gd name="T13" fmla="*/ 873 h 2042"/>
                <a:gd name="T14" fmla="*/ 1746 w 1746"/>
                <a:gd name="T15" fmla="*/ 1169 h 2042"/>
                <a:gd name="T16" fmla="*/ 873 w 1746"/>
                <a:gd name="T17" fmla="*/ 2042 h 2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6" h="2042">
                  <a:moveTo>
                    <a:pt x="873" y="2042"/>
                  </a:moveTo>
                  <a:lnTo>
                    <a:pt x="873" y="2042"/>
                  </a:lnTo>
                  <a:cubicBezTo>
                    <a:pt x="391" y="2042"/>
                    <a:pt x="0" y="1651"/>
                    <a:pt x="0" y="1169"/>
                  </a:cubicBezTo>
                  <a:lnTo>
                    <a:pt x="0" y="873"/>
                  </a:lnTo>
                  <a:cubicBezTo>
                    <a:pt x="0" y="391"/>
                    <a:pt x="391" y="0"/>
                    <a:pt x="873" y="0"/>
                  </a:cubicBezTo>
                  <a:lnTo>
                    <a:pt x="873" y="0"/>
                  </a:lnTo>
                  <a:cubicBezTo>
                    <a:pt x="1355" y="0"/>
                    <a:pt x="1746" y="391"/>
                    <a:pt x="1746" y="873"/>
                  </a:cubicBezTo>
                  <a:lnTo>
                    <a:pt x="1746" y="1169"/>
                  </a:lnTo>
                  <a:cubicBezTo>
                    <a:pt x="1746" y="1651"/>
                    <a:pt x="1355" y="2042"/>
                    <a:pt x="873" y="2042"/>
                  </a:cubicBezTo>
                  <a:close/>
                </a:path>
              </a:pathLst>
            </a:custGeom>
            <a:solidFill>
              <a:srgbClr val="D0DA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13" name="Freeform 34">
              <a:extLst>
                <a:ext uri="{FF2B5EF4-FFF2-40B4-BE49-F238E27FC236}">
                  <a16:creationId xmlns:a16="http://schemas.microsoft.com/office/drawing/2014/main" id="{13A770DD-1520-B647-AC0E-6203AE1BE60E}"/>
                </a:ext>
              </a:extLst>
            </p:cNvPr>
            <p:cNvSpPr>
              <a:spLocks/>
            </p:cNvSpPr>
            <p:nvPr/>
          </p:nvSpPr>
          <p:spPr bwMode="auto">
            <a:xfrm>
              <a:off x="2076775" y="3918554"/>
              <a:ext cx="302008" cy="165273"/>
            </a:xfrm>
            <a:custGeom>
              <a:avLst/>
              <a:gdLst>
                <a:gd name="T0" fmla="*/ 1008 w 1181"/>
                <a:gd name="T1" fmla="*/ 6 h 643"/>
                <a:gd name="T2" fmla="*/ 177 w 1181"/>
                <a:gd name="T3" fmla="*/ 1 h 643"/>
                <a:gd name="T4" fmla="*/ 2 w 1181"/>
                <a:gd name="T5" fmla="*/ 173 h 643"/>
                <a:gd name="T6" fmla="*/ 0 w 1181"/>
                <a:gd name="T7" fmla="*/ 462 h 643"/>
                <a:gd name="T8" fmla="*/ 173 w 1181"/>
                <a:gd name="T9" fmla="*/ 637 h 643"/>
                <a:gd name="T10" fmla="*/ 1003 w 1181"/>
                <a:gd name="T11" fmla="*/ 643 h 643"/>
                <a:gd name="T12" fmla="*/ 1178 w 1181"/>
                <a:gd name="T13" fmla="*/ 470 h 643"/>
                <a:gd name="T14" fmla="*/ 1180 w 1181"/>
                <a:gd name="T15" fmla="*/ 181 h 643"/>
                <a:gd name="T16" fmla="*/ 1008 w 1181"/>
                <a:gd name="T17" fmla="*/ 6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1" h="643">
                  <a:moveTo>
                    <a:pt x="1008" y="6"/>
                  </a:moveTo>
                  <a:lnTo>
                    <a:pt x="177" y="1"/>
                  </a:lnTo>
                  <a:cubicBezTo>
                    <a:pt x="82" y="0"/>
                    <a:pt x="3" y="78"/>
                    <a:pt x="2" y="173"/>
                  </a:cubicBezTo>
                  <a:lnTo>
                    <a:pt x="0" y="462"/>
                  </a:lnTo>
                  <a:cubicBezTo>
                    <a:pt x="0" y="558"/>
                    <a:pt x="77" y="636"/>
                    <a:pt x="173" y="637"/>
                  </a:cubicBezTo>
                  <a:lnTo>
                    <a:pt x="1003" y="643"/>
                  </a:lnTo>
                  <a:cubicBezTo>
                    <a:pt x="1099" y="643"/>
                    <a:pt x="1178" y="566"/>
                    <a:pt x="1178" y="470"/>
                  </a:cubicBezTo>
                  <a:lnTo>
                    <a:pt x="1180" y="181"/>
                  </a:lnTo>
                  <a:cubicBezTo>
                    <a:pt x="1181" y="86"/>
                    <a:pt x="1103" y="7"/>
                    <a:pt x="1008" y="6"/>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14" name="Freeform 35">
              <a:extLst>
                <a:ext uri="{FF2B5EF4-FFF2-40B4-BE49-F238E27FC236}">
                  <a16:creationId xmlns:a16="http://schemas.microsoft.com/office/drawing/2014/main" id="{09C45786-DF9D-8F45-8913-0804FBAD04A9}"/>
                </a:ext>
              </a:extLst>
            </p:cNvPr>
            <p:cNvSpPr>
              <a:spLocks/>
            </p:cNvSpPr>
            <p:nvPr/>
          </p:nvSpPr>
          <p:spPr bwMode="auto">
            <a:xfrm>
              <a:off x="2131470" y="4092149"/>
              <a:ext cx="183107" cy="24970"/>
            </a:xfrm>
            <a:custGeom>
              <a:avLst/>
              <a:gdLst>
                <a:gd name="T0" fmla="*/ 673 w 710"/>
                <a:gd name="T1" fmla="*/ 4 h 99"/>
                <a:gd name="T2" fmla="*/ 37 w 710"/>
                <a:gd name="T3" fmla="*/ 0 h 99"/>
                <a:gd name="T4" fmla="*/ 0 w 710"/>
                <a:gd name="T5" fmla="*/ 36 h 99"/>
                <a:gd name="T6" fmla="*/ 0 w 710"/>
                <a:gd name="T7" fmla="*/ 58 h 99"/>
                <a:gd name="T8" fmla="*/ 37 w 710"/>
                <a:gd name="T9" fmla="*/ 95 h 99"/>
                <a:gd name="T10" fmla="*/ 673 w 710"/>
                <a:gd name="T11" fmla="*/ 99 h 99"/>
                <a:gd name="T12" fmla="*/ 710 w 710"/>
                <a:gd name="T13" fmla="*/ 62 h 99"/>
                <a:gd name="T14" fmla="*/ 710 w 710"/>
                <a:gd name="T15" fmla="*/ 41 h 99"/>
                <a:gd name="T16" fmla="*/ 673 w 710"/>
                <a:gd name="T17" fmla="*/ 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0" h="99">
                  <a:moveTo>
                    <a:pt x="673" y="4"/>
                  </a:moveTo>
                  <a:lnTo>
                    <a:pt x="37" y="0"/>
                  </a:lnTo>
                  <a:cubicBezTo>
                    <a:pt x="17" y="0"/>
                    <a:pt x="0" y="16"/>
                    <a:pt x="0" y="36"/>
                  </a:cubicBezTo>
                  <a:lnTo>
                    <a:pt x="0" y="58"/>
                  </a:lnTo>
                  <a:cubicBezTo>
                    <a:pt x="0" y="78"/>
                    <a:pt x="16" y="95"/>
                    <a:pt x="37" y="95"/>
                  </a:cubicBezTo>
                  <a:lnTo>
                    <a:pt x="673" y="99"/>
                  </a:lnTo>
                  <a:cubicBezTo>
                    <a:pt x="693" y="99"/>
                    <a:pt x="709" y="83"/>
                    <a:pt x="710" y="62"/>
                  </a:cubicBezTo>
                  <a:lnTo>
                    <a:pt x="710" y="41"/>
                  </a:lnTo>
                  <a:cubicBezTo>
                    <a:pt x="710" y="21"/>
                    <a:pt x="693" y="4"/>
                    <a:pt x="673" y="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15" name="Freeform 36">
              <a:extLst>
                <a:ext uri="{FF2B5EF4-FFF2-40B4-BE49-F238E27FC236}">
                  <a16:creationId xmlns:a16="http://schemas.microsoft.com/office/drawing/2014/main" id="{E8E0E531-7D61-FE40-9A9F-3B835CACAEB8}"/>
                </a:ext>
              </a:extLst>
            </p:cNvPr>
            <p:cNvSpPr>
              <a:spLocks/>
            </p:cNvSpPr>
            <p:nvPr/>
          </p:nvSpPr>
          <p:spPr bwMode="auto">
            <a:xfrm>
              <a:off x="2152872" y="4124253"/>
              <a:ext cx="140303" cy="24970"/>
            </a:xfrm>
            <a:custGeom>
              <a:avLst/>
              <a:gdLst>
                <a:gd name="T0" fmla="*/ 514 w 546"/>
                <a:gd name="T1" fmla="*/ 4 h 99"/>
                <a:gd name="T2" fmla="*/ 33 w 546"/>
                <a:gd name="T3" fmla="*/ 1 h 99"/>
                <a:gd name="T4" fmla="*/ 1 w 546"/>
                <a:gd name="T5" fmla="*/ 33 h 99"/>
                <a:gd name="T6" fmla="*/ 0 w 546"/>
                <a:gd name="T7" fmla="*/ 63 h 99"/>
                <a:gd name="T8" fmla="*/ 33 w 546"/>
                <a:gd name="T9" fmla="*/ 96 h 99"/>
                <a:gd name="T10" fmla="*/ 513 w 546"/>
                <a:gd name="T11" fmla="*/ 99 h 99"/>
                <a:gd name="T12" fmla="*/ 546 w 546"/>
                <a:gd name="T13" fmla="*/ 67 h 99"/>
                <a:gd name="T14" fmla="*/ 546 w 546"/>
                <a:gd name="T15" fmla="*/ 36 h 99"/>
                <a:gd name="T16" fmla="*/ 514 w 546"/>
                <a:gd name="T17" fmla="*/ 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99">
                  <a:moveTo>
                    <a:pt x="514" y="4"/>
                  </a:moveTo>
                  <a:lnTo>
                    <a:pt x="33" y="1"/>
                  </a:lnTo>
                  <a:cubicBezTo>
                    <a:pt x="15" y="0"/>
                    <a:pt x="1" y="15"/>
                    <a:pt x="1" y="33"/>
                  </a:cubicBezTo>
                  <a:lnTo>
                    <a:pt x="0" y="63"/>
                  </a:lnTo>
                  <a:cubicBezTo>
                    <a:pt x="0" y="81"/>
                    <a:pt x="15" y="95"/>
                    <a:pt x="33" y="96"/>
                  </a:cubicBezTo>
                  <a:lnTo>
                    <a:pt x="513" y="99"/>
                  </a:lnTo>
                  <a:cubicBezTo>
                    <a:pt x="531" y="99"/>
                    <a:pt x="545" y="84"/>
                    <a:pt x="546" y="67"/>
                  </a:cubicBezTo>
                  <a:lnTo>
                    <a:pt x="546" y="36"/>
                  </a:lnTo>
                  <a:cubicBezTo>
                    <a:pt x="546" y="19"/>
                    <a:pt x="531" y="4"/>
                    <a:pt x="514" y="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16" name="Freeform 37">
              <a:extLst>
                <a:ext uri="{FF2B5EF4-FFF2-40B4-BE49-F238E27FC236}">
                  <a16:creationId xmlns:a16="http://schemas.microsoft.com/office/drawing/2014/main" id="{085935D1-CD83-AC44-B8B3-0A78D1CE864B}"/>
                </a:ext>
              </a:extLst>
            </p:cNvPr>
            <p:cNvSpPr>
              <a:spLocks/>
            </p:cNvSpPr>
            <p:nvPr/>
          </p:nvSpPr>
          <p:spPr bwMode="auto">
            <a:xfrm>
              <a:off x="2047050" y="3989895"/>
              <a:ext cx="47560" cy="17836"/>
            </a:xfrm>
            <a:custGeom>
              <a:avLst/>
              <a:gdLst>
                <a:gd name="T0" fmla="*/ 155 w 189"/>
                <a:gd name="T1" fmla="*/ 1 h 69"/>
                <a:gd name="T2" fmla="*/ 34 w 189"/>
                <a:gd name="T3" fmla="*/ 0 h 69"/>
                <a:gd name="T4" fmla="*/ 0 w 189"/>
                <a:gd name="T5" fmla="*/ 34 h 69"/>
                <a:gd name="T6" fmla="*/ 34 w 189"/>
                <a:gd name="T7" fmla="*/ 68 h 69"/>
                <a:gd name="T8" fmla="*/ 154 w 189"/>
                <a:gd name="T9" fmla="*/ 69 h 69"/>
                <a:gd name="T10" fmla="*/ 189 w 189"/>
                <a:gd name="T11" fmla="*/ 35 h 69"/>
                <a:gd name="T12" fmla="*/ 155 w 189"/>
                <a:gd name="T13" fmla="*/ 1 h 69"/>
              </a:gdLst>
              <a:ahLst/>
              <a:cxnLst>
                <a:cxn ang="0">
                  <a:pos x="T0" y="T1"/>
                </a:cxn>
                <a:cxn ang="0">
                  <a:pos x="T2" y="T3"/>
                </a:cxn>
                <a:cxn ang="0">
                  <a:pos x="T4" y="T5"/>
                </a:cxn>
                <a:cxn ang="0">
                  <a:pos x="T6" y="T7"/>
                </a:cxn>
                <a:cxn ang="0">
                  <a:pos x="T8" y="T9"/>
                </a:cxn>
                <a:cxn ang="0">
                  <a:pos x="T10" y="T11"/>
                </a:cxn>
                <a:cxn ang="0">
                  <a:pos x="T12" y="T13"/>
                </a:cxn>
              </a:cxnLst>
              <a:rect l="0" t="0" r="r" b="b"/>
              <a:pathLst>
                <a:path w="189" h="69">
                  <a:moveTo>
                    <a:pt x="155" y="1"/>
                  </a:moveTo>
                  <a:lnTo>
                    <a:pt x="34" y="0"/>
                  </a:lnTo>
                  <a:cubicBezTo>
                    <a:pt x="16" y="0"/>
                    <a:pt x="0" y="15"/>
                    <a:pt x="0" y="34"/>
                  </a:cubicBezTo>
                  <a:cubicBezTo>
                    <a:pt x="0" y="53"/>
                    <a:pt x="15" y="68"/>
                    <a:pt x="34" y="68"/>
                  </a:cubicBezTo>
                  <a:lnTo>
                    <a:pt x="154" y="69"/>
                  </a:lnTo>
                  <a:cubicBezTo>
                    <a:pt x="173" y="69"/>
                    <a:pt x="188" y="54"/>
                    <a:pt x="189" y="35"/>
                  </a:cubicBezTo>
                  <a:cubicBezTo>
                    <a:pt x="189" y="17"/>
                    <a:pt x="174" y="1"/>
                    <a:pt x="155" y="1"/>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17" name="Freeform 38">
              <a:extLst>
                <a:ext uri="{FF2B5EF4-FFF2-40B4-BE49-F238E27FC236}">
                  <a16:creationId xmlns:a16="http://schemas.microsoft.com/office/drawing/2014/main" id="{FECF868D-01D8-C747-B790-165B252B6454}"/>
                </a:ext>
              </a:extLst>
            </p:cNvPr>
            <p:cNvSpPr>
              <a:spLocks/>
            </p:cNvSpPr>
            <p:nvPr/>
          </p:nvSpPr>
          <p:spPr bwMode="auto">
            <a:xfrm>
              <a:off x="2019703" y="3978005"/>
              <a:ext cx="41616" cy="41616"/>
            </a:xfrm>
            <a:custGeom>
              <a:avLst/>
              <a:gdLst>
                <a:gd name="T0" fmla="*/ 83 w 164"/>
                <a:gd name="T1" fmla="*/ 0 h 164"/>
                <a:gd name="T2" fmla="*/ 1 w 164"/>
                <a:gd name="T3" fmla="*/ 81 h 164"/>
                <a:gd name="T4" fmla="*/ 82 w 164"/>
                <a:gd name="T5" fmla="*/ 164 h 164"/>
                <a:gd name="T6" fmla="*/ 164 w 164"/>
                <a:gd name="T7" fmla="*/ 83 h 164"/>
                <a:gd name="T8" fmla="*/ 83 w 164"/>
                <a:gd name="T9" fmla="*/ 0 h 164"/>
              </a:gdLst>
              <a:ahLst/>
              <a:cxnLst>
                <a:cxn ang="0">
                  <a:pos x="T0" y="T1"/>
                </a:cxn>
                <a:cxn ang="0">
                  <a:pos x="T2" y="T3"/>
                </a:cxn>
                <a:cxn ang="0">
                  <a:pos x="T4" y="T5"/>
                </a:cxn>
                <a:cxn ang="0">
                  <a:pos x="T6" y="T7"/>
                </a:cxn>
                <a:cxn ang="0">
                  <a:pos x="T8" y="T9"/>
                </a:cxn>
              </a:cxnLst>
              <a:rect l="0" t="0" r="r" b="b"/>
              <a:pathLst>
                <a:path w="164" h="164">
                  <a:moveTo>
                    <a:pt x="83" y="0"/>
                  </a:moveTo>
                  <a:cubicBezTo>
                    <a:pt x="38" y="0"/>
                    <a:pt x="1" y="36"/>
                    <a:pt x="1" y="81"/>
                  </a:cubicBezTo>
                  <a:cubicBezTo>
                    <a:pt x="0" y="127"/>
                    <a:pt x="37" y="163"/>
                    <a:pt x="82" y="164"/>
                  </a:cubicBezTo>
                  <a:cubicBezTo>
                    <a:pt x="127" y="164"/>
                    <a:pt x="164" y="128"/>
                    <a:pt x="164" y="83"/>
                  </a:cubicBezTo>
                  <a:cubicBezTo>
                    <a:pt x="164" y="37"/>
                    <a:pt x="128" y="1"/>
                    <a:pt x="83"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18" name="Freeform 39">
              <a:extLst>
                <a:ext uri="{FF2B5EF4-FFF2-40B4-BE49-F238E27FC236}">
                  <a16:creationId xmlns:a16="http://schemas.microsoft.com/office/drawing/2014/main" id="{6A62ECF4-5832-B642-A083-468CB9E3E963}"/>
                </a:ext>
              </a:extLst>
            </p:cNvPr>
            <p:cNvSpPr>
              <a:spLocks/>
            </p:cNvSpPr>
            <p:nvPr/>
          </p:nvSpPr>
          <p:spPr bwMode="auto">
            <a:xfrm>
              <a:off x="2219456" y="3885262"/>
              <a:ext cx="17836" cy="48750"/>
            </a:xfrm>
            <a:custGeom>
              <a:avLst/>
              <a:gdLst>
                <a:gd name="T0" fmla="*/ 68 w 69"/>
                <a:gd name="T1" fmla="*/ 155 h 189"/>
                <a:gd name="T2" fmla="*/ 69 w 69"/>
                <a:gd name="T3" fmla="*/ 34 h 189"/>
                <a:gd name="T4" fmla="*/ 35 w 69"/>
                <a:gd name="T5" fmla="*/ 0 h 189"/>
                <a:gd name="T6" fmla="*/ 1 w 69"/>
                <a:gd name="T7" fmla="*/ 34 h 189"/>
                <a:gd name="T8" fmla="*/ 0 w 69"/>
                <a:gd name="T9" fmla="*/ 154 h 189"/>
                <a:gd name="T10" fmla="*/ 34 w 69"/>
                <a:gd name="T11" fmla="*/ 189 h 189"/>
                <a:gd name="T12" fmla="*/ 68 w 69"/>
                <a:gd name="T13" fmla="*/ 155 h 189"/>
              </a:gdLst>
              <a:ahLst/>
              <a:cxnLst>
                <a:cxn ang="0">
                  <a:pos x="T0" y="T1"/>
                </a:cxn>
                <a:cxn ang="0">
                  <a:pos x="T2" y="T3"/>
                </a:cxn>
                <a:cxn ang="0">
                  <a:pos x="T4" y="T5"/>
                </a:cxn>
                <a:cxn ang="0">
                  <a:pos x="T6" y="T7"/>
                </a:cxn>
                <a:cxn ang="0">
                  <a:pos x="T8" y="T9"/>
                </a:cxn>
                <a:cxn ang="0">
                  <a:pos x="T10" y="T11"/>
                </a:cxn>
                <a:cxn ang="0">
                  <a:pos x="T12" y="T13"/>
                </a:cxn>
              </a:cxnLst>
              <a:rect l="0" t="0" r="r" b="b"/>
              <a:pathLst>
                <a:path w="69" h="189">
                  <a:moveTo>
                    <a:pt x="68" y="155"/>
                  </a:moveTo>
                  <a:lnTo>
                    <a:pt x="69" y="34"/>
                  </a:lnTo>
                  <a:cubicBezTo>
                    <a:pt x="69" y="16"/>
                    <a:pt x="54" y="0"/>
                    <a:pt x="35" y="0"/>
                  </a:cubicBezTo>
                  <a:cubicBezTo>
                    <a:pt x="16" y="0"/>
                    <a:pt x="1" y="15"/>
                    <a:pt x="1" y="34"/>
                  </a:cubicBezTo>
                  <a:lnTo>
                    <a:pt x="0" y="154"/>
                  </a:lnTo>
                  <a:cubicBezTo>
                    <a:pt x="0" y="173"/>
                    <a:pt x="15" y="188"/>
                    <a:pt x="34" y="189"/>
                  </a:cubicBezTo>
                  <a:cubicBezTo>
                    <a:pt x="52" y="189"/>
                    <a:pt x="68" y="173"/>
                    <a:pt x="68" y="15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19" name="Freeform 40">
              <a:extLst>
                <a:ext uri="{FF2B5EF4-FFF2-40B4-BE49-F238E27FC236}">
                  <a16:creationId xmlns:a16="http://schemas.microsoft.com/office/drawing/2014/main" id="{E20B1F74-8AE8-1643-97E0-5CC0FE117BF5}"/>
                </a:ext>
              </a:extLst>
            </p:cNvPr>
            <p:cNvSpPr>
              <a:spLocks/>
            </p:cNvSpPr>
            <p:nvPr/>
          </p:nvSpPr>
          <p:spPr bwMode="auto">
            <a:xfrm>
              <a:off x="2207566" y="3857915"/>
              <a:ext cx="41616" cy="42804"/>
            </a:xfrm>
            <a:custGeom>
              <a:avLst/>
              <a:gdLst>
                <a:gd name="T0" fmla="*/ 164 w 164"/>
                <a:gd name="T1" fmla="*/ 83 h 164"/>
                <a:gd name="T2" fmla="*/ 83 w 164"/>
                <a:gd name="T3" fmla="*/ 1 h 164"/>
                <a:gd name="T4" fmla="*/ 0 w 164"/>
                <a:gd name="T5" fmla="*/ 82 h 164"/>
                <a:gd name="T6" fmla="*/ 81 w 164"/>
                <a:gd name="T7" fmla="*/ 164 h 164"/>
                <a:gd name="T8" fmla="*/ 164 w 164"/>
                <a:gd name="T9" fmla="*/ 83 h 164"/>
              </a:gdLst>
              <a:ahLst/>
              <a:cxnLst>
                <a:cxn ang="0">
                  <a:pos x="T0" y="T1"/>
                </a:cxn>
                <a:cxn ang="0">
                  <a:pos x="T2" y="T3"/>
                </a:cxn>
                <a:cxn ang="0">
                  <a:pos x="T4" y="T5"/>
                </a:cxn>
                <a:cxn ang="0">
                  <a:pos x="T6" y="T7"/>
                </a:cxn>
                <a:cxn ang="0">
                  <a:pos x="T8" y="T9"/>
                </a:cxn>
              </a:cxnLst>
              <a:rect l="0" t="0" r="r" b="b"/>
              <a:pathLst>
                <a:path w="164" h="164">
                  <a:moveTo>
                    <a:pt x="164" y="83"/>
                  </a:moveTo>
                  <a:cubicBezTo>
                    <a:pt x="164" y="38"/>
                    <a:pt x="128" y="1"/>
                    <a:pt x="83" y="1"/>
                  </a:cubicBezTo>
                  <a:cubicBezTo>
                    <a:pt x="37" y="0"/>
                    <a:pt x="0" y="37"/>
                    <a:pt x="0" y="82"/>
                  </a:cubicBezTo>
                  <a:cubicBezTo>
                    <a:pt x="0" y="127"/>
                    <a:pt x="36" y="164"/>
                    <a:pt x="81" y="164"/>
                  </a:cubicBezTo>
                  <a:cubicBezTo>
                    <a:pt x="127" y="164"/>
                    <a:pt x="163" y="128"/>
                    <a:pt x="164" y="83"/>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20" name="Freeform 41">
              <a:extLst>
                <a:ext uri="{FF2B5EF4-FFF2-40B4-BE49-F238E27FC236}">
                  <a16:creationId xmlns:a16="http://schemas.microsoft.com/office/drawing/2014/main" id="{C2CD011A-A20E-404A-B7EB-7B4733921B28}"/>
                </a:ext>
              </a:extLst>
            </p:cNvPr>
            <p:cNvSpPr>
              <a:spLocks/>
            </p:cNvSpPr>
            <p:nvPr/>
          </p:nvSpPr>
          <p:spPr bwMode="auto">
            <a:xfrm>
              <a:off x="2365704" y="3992273"/>
              <a:ext cx="48750" cy="17836"/>
            </a:xfrm>
            <a:custGeom>
              <a:avLst/>
              <a:gdLst>
                <a:gd name="T0" fmla="*/ 155 w 188"/>
                <a:gd name="T1" fmla="*/ 0 h 69"/>
                <a:gd name="T2" fmla="*/ 34 w 188"/>
                <a:gd name="T3" fmla="*/ 0 h 69"/>
                <a:gd name="T4" fmla="*/ 0 w 188"/>
                <a:gd name="T5" fmla="*/ 33 h 69"/>
                <a:gd name="T6" fmla="*/ 34 w 188"/>
                <a:gd name="T7" fmla="*/ 68 h 69"/>
                <a:gd name="T8" fmla="*/ 154 w 188"/>
                <a:gd name="T9" fmla="*/ 69 h 69"/>
                <a:gd name="T10" fmla="*/ 188 w 188"/>
                <a:gd name="T11" fmla="*/ 35 h 69"/>
                <a:gd name="T12" fmla="*/ 155 w 188"/>
                <a:gd name="T13" fmla="*/ 0 h 69"/>
              </a:gdLst>
              <a:ahLst/>
              <a:cxnLst>
                <a:cxn ang="0">
                  <a:pos x="T0" y="T1"/>
                </a:cxn>
                <a:cxn ang="0">
                  <a:pos x="T2" y="T3"/>
                </a:cxn>
                <a:cxn ang="0">
                  <a:pos x="T4" y="T5"/>
                </a:cxn>
                <a:cxn ang="0">
                  <a:pos x="T6" y="T7"/>
                </a:cxn>
                <a:cxn ang="0">
                  <a:pos x="T8" y="T9"/>
                </a:cxn>
                <a:cxn ang="0">
                  <a:pos x="T10" y="T11"/>
                </a:cxn>
                <a:cxn ang="0">
                  <a:pos x="T12" y="T13"/>
                </a:cxn>
              </a:cxnLst>
              <a:rect l="0" t="0" r="r" b="b"/>
              <a:pathLst>
                <a:path w="188" h="69">
                  <a:moveTo>
                    <a:pt x="155" y="0"/>
                  </a:moveTo>
                  <a:lnTo>
                    <a:pt x="34" y="0"/>
                  </a:lnTo>
                  <a:cubicBezTo>
                    <a:pt x="15" y="0"/>
                    <a:pt x="0" y="15"/>
                    <a:pt x="0" y="33"/>
                  </a:cubicBezTo>
                  <a:cubicBezTo>
                    <a:pt x="0" y="52"/>
                    <a:pt x="15" y="68"/>
                    <a:pt x="34" y="68"/>
                  </a:cubicBezTo>
                  <a:lnTo>
                    <a:pt x="154" y="69"/>
                  </a:lnTo>
                  <a:cubicBezTo>
                    <a:pt x="173" y="69"/>
                    <a:pt x="188" y="53"/>
                    <a:pt x="188" y="35"/>
                  </a:cubicBezTo>
                  <a:cubicBezTo>
                    <a:pt x="188" y="16"/>
                    <a:pt x="173" y="1"/>
                    <a:pt x="155"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21" name="Freeform 42">
              <a:extLst>
                <a:ext uri="{FF2B5EF4-FFF2-40B4-BE49-F238E27FC236}">
                  <a16:creationId xmlns:a16="http://schemas.microsoft.com/office/drawing/2014/main" id="{AF2AAC67-DB94-E847-9641-B36B150B6C03}"/>
                </a:ext>
              </a:extLst>
            </p:cNvPr>
            <p:cNvSpPr>
              <a:spLocks/>
            </p:cNvSpPr>
            <p:nvPr/>
          </p:nvSpPr>
          <p:spPr bwMode="auto">
            <a:xfrm>
              <a:off x="2398996" y="3980383"/>
              <a:ext cx="41616" cy="41616"/>
            </a:xfrm>
            <a:custGeom>
              <a:avLst/>
              <a:gdLst>
                <a:gd name="T0" fmla="*/ 83 w 164"/>
                <a:gd name="T1" fmla="*/ 0 h 164"/>
                <a:gd name="T2" fmla="*/ 0 w 164"/>
                <a:gd name="T3" fmla="*/ 81 h 164"/>
                <a:gd name="T4" fmla="*/ 82 w 164"/>
                <a:gd name="T5" fmla="*/ 164 h 164"/>
                <a:gd name="T6" fmla="*/ 164 w 164"/>
                <a:gd name="T7" fmla="*/ 82 h 164"/>
                <a:gd name="T8" fmla="*/ 83 w 164"/>
                <a:gd name="T9" fmla="*/ 0 h 164"/>
              </a:gdLst>
              <a:ahLst/>
              <a:cxnLst>
                <a:cxn ang="0">
                  <a:pos x="T0" y="T1"/>
                </a:cxn>
                <a:cxn ang="0">
                  <a:pos x="T2" y="T3"/>
                </a:cxn>
                <a:cxn ang="0">
                  <a:pos x="T4" y="T5"/>
                </a:cxn>
                <a:cxn ang="0">
                  <a:pos x="T6" y="T7"/>
                </a:cxn>
                <a:cxn ang="0">
                  <a:pos x="T8" y="T9"/>
                </a:cxn>
              </a:cxnLst>
              <a:rect l="0" t="0" r="r" b="b"/>
              <a:pathLst>
                <a:path w="164" h="164">
                  <a:moveTo>
                    <a:pt x="83" y="0"/>
                  </a:moveTo>
                  <a:cubicBezTo>
                    <a:pt x="37" y="0"/>
                    <a:pt x="1" y="36"/>
                    <a:pt x="0" y="81"/>
                  </a:cubicBezTo>
                  <a:cubicBezTo>
                    <a:pt x="0" y="126"/>
                    <a:pt x="36" y="163"/>
                    <a:pt x="82" y="164"/>
                  </a:cubicBezTo>
                  <a:cubicBezTo>
                    <a:pt x="127" y="164"/>
                    <a:pt x="164" y="128"/>
                    <a:pt x="164" y="82"/>
                  </a:cubicBezTo>
                  <a:cubicBezTo>
                    <a:pt x="164" y="37"/>
                    <a:pt x="128" y="0"/>
                    <a:pt x="83"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22" name="Freeform 43">
              <a:extLst>
                <a:ext uri="{FF2B5EF4-FFF2-40B4-BE49-F238E27FC236}">
                  <a16:creationId xmlns:a16="http://schemas.microsoft.com/office/drawing/2014/main" id="{D82BDDF9-06D3-5345-AF08-F245AE398DBC}"/>
                </a:ext>
              </a:extLst>
            </p:cNvPr>
            <p:cNvSpPr>
              <a:spLocks/>
            </p:cNvSpPr>
            <p:nvPr/>
          </p:nvSpPr>
          <p:spPr bwMode="auto">
            <a:xfrm>
              <a:off x="2124336" y="3978005"/>
              <a:ext cx="59450" cy="59450"/>
            </a:xfrm>
            <a:custGeom>
              <a:avLst/>
              <a:gdLst>
                <a:gd name="T0" fmla="*/ 117 w 232"/>
                <a:gd name="T1" fmla="*/ 0 h 232"/>
                <a:gd name="T2" fmla="*/ 0 w 232"/>
                <a:gd name="T3" fmla="*/ 115 h 232"/>
                <a:gd name="T4" fmla="*/ 115 w 232"/>
                <a:gd name="T5" fmla="*/ 232 h 232"/>
                <a:gd name="T6" fmla="*/ 232 w 232"/>
                <a:gd name="T7" fmla="*/ 117 h 232"/>
                <a:gd name="T8" fmla="*/ 117 w 232"/>
                <a:gd name="T9" fmla="*/ 0 h 232"/>
              </a:gdLst>
              <a:ahLst/>
              <a:cxnLst>
                <a:cxn ang="0">
                  <a:pos x="T0" y="T1"/>
                </a:cxn>
                <a:cxn ang="0">
                  <a:pos x="T2" y="T3"/>
                </a:cxn>
                <a:cxn ang="0">
                  <a:pos x="T4" y="T5"/>
                </a:cxn>
                <a:cxn ang="0">
                  <a:pos x="T6" y="T7"/>
                </a:cxn>
                <a:cxn ang="0">
                  <a:pos x="T8" y="T9"/>
                </a:cxn>
              </a:cxnLst>
              <a:rect l="0" t="0" r="r" b="b"/>
              <a:pathLst>
                <a:path w="232" h="232">
                  <a:moveTo>
                    <a:pt x="117" y="0"/>
                  </a:moveTo>
                  <a:cubicBezTo>
                    <a:pt x="53" y="0"/>
                    <a:pt x="1" y="51"/>
                    <a:pt x="0" y="115"/>
                  </a:cubicBezTo>
                  <a:cubicBezTo>
                    <a:pt x="0" y="179"/>
                    <a:pt x="51" y="231"/>
                    <a:pt x="115" y="232"/>
                  </a:cubicBezTo>
                  <a:cubicBezTo>
                    <a:pt x="179" y="232"/>
                    <a:pt x="231" y="181"/>
                    <a:pt x="232" y="117"/>
                  </a:cubicBezTo>
                  <a:cubicBezTo>
                    <a:pt x="232" y="53"/>
                    <a:pt x="181" y="1"/>
                    <a:pt x="117" y="0"/>
                  </a:cubicBezTo>
                  <a:close/>
                </a:path>
              </a:pathLst>
            </a:custGeom>
            <a:solidFill>
              <a:srgbClr val="F9FA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23" name="Freeform 44">
              <a:extLst>
                <a:ext uri="{FF2B5EF4-FFF2-40B4-BE49-F238E27FC236}">
                  <a16:creationId xmlns:a16="http://schemas.microsoft.com/office/drawing/2014/main" id="{BC370756-D015-4745-AD7A-17365BE7C5EA}"/>
                </a:ext>
              </a:extLst>
            </p:cNvPr>
            <p:cNvSpPr>
              <a:spLocks/>
            </p:cNvSpPr>
            <p:nvPr/>
          </p:nvSpPr>
          <p:spPr bwMode="auto">
            <a:xfrm>
              <a:off x="2263449" y="3979194"/>
              <a:ext cx="59450" cy="59450"/>
            </a:xfrm>
            <a:custGeom>
              <a:avLst/>
              <a:gdLst>
                <a:gd name="T0" fmla="*/ 117 w 232"/>
                <a:gd name="T1" fmla="*/ 1 h 233"/>
                <a:gd name="T2" fmla="*/ 0 w 232"/>
                <a:gd name="T3" fmla="*/ 116 h 233"/>
                <a:gd name="T4" fmla="*/ 115 w 232"/>
                <a:gd name="T5" fmla="*/ 233 h 233"/>
                <a:gd name="T6" fmla="*/ 232 w 232"/>
                <a:gd name="T7" fmla="*/ 117 h 233"/>
                <a:gd name="T8" fmla="*/ 117 w 232"/>
                <a:gd name="T9" fmla="*/ 1 h 233"/>
              </a:gdLst>
              <a:ahLst/>
              <a:cxnLst>
                <a:cxn ang="0">
                  <a:pos x="T0" y="T1"/>
                </a:cxn>
                <a:cxn ang="0">
                  <a:pos x="T2" y="T3"/>
                </a:cxn>
                <a:cxn ang="0">
                  <a:pos x="T4" y="T5"/>
                </a:cxn>
                <a:cxn ang="0">
                  <a:pos x="T6" y="T7"/>
                </a:cxn>
                <a:cxn ang="0">
                  <a:pos x="T8" y="T9"/>
                </a:cxn>
              </a:cxnLst>
              <a:rect l="0" t="0" r="r" b="b"/>
              <a:pathLst>
                <a:path w="232" h="233">
                  <a:moveTo>
                    <a:pt x="117" y="1"/>
                  </a:moveTo>
                  <a:cubicBezTo>
                    <a:pt x="53" y="0"/>
                    <a:pt x="1" y="52"/>
                    <a:pt x="0" y="116"/>
                  </a:cubicBezTo>
                  <a:cubicBezTo>
                    <a:pt x="0" y="180"/>
                    <a:pt x="51" y="232"/>
                    <a:pt x="115" y="233"/>
                  </a:cubicBezTo>
                  <a:cubicBezTo>
                    <a:pt x="179" y="233"/>
                    <a:pt x="231" y="181"/>
                    <a:pt x="232" y="117"/>
                  </a:cubicBezTo>
                  <a:cubicBezTo>
                    <a:pt x="232" y="53"/>
                    <a:pt x="181" y="1"/>
                    <a:pt x="117" y="1"/>
                  </a:cubicBezTo>
                  <a:close/>
                </a:path>
              </a:pathLst>
            </a:custGeom>
            <a:solidFill>
              <a:srgbClr val="F9FA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24" name="Freeform 45">
              <a:extLst>
                <a:ext uri="{FF2B5EF4-FFF2-40B4-BE49-F238E27FC236}">
                  <a16:creationId xmlns:a16="http://schemas.microsoft.com/office/drawing/2014/main" id="{52614F02-61E1-5341-8CD5-014289A8AE6A}"/>
                </a:ext>
              </a:extLst>
            </p:cNvPr>
            <p:cNvSpPr>
              <a:spLocks/>
            </p:cNvSpPr>
            <p:nvPr/>
          </p:nvSpPr>
          <p:spPr bwMode="auto">
            <a:xfrm>
              <a:off x="2444179" y="4735404"/>
              <a:ext cx="261582" cy="146249"/>
            </a:xfrm>
            <a:custGeom>
              <a:avLst/>
              <a:gdLst>
                <a:gd name="T0" fmla="*/ 1021 w 1021"/>
                <a:gd name="T1" fmla="*/ 570 h 570"/>
                <a:gd name="T2" fmla="*/ 0 w 1021"/>
                <a:gd name="T3" fmla="*/ 570 h 570"/>
                <a:gd name="T4" fmla="*/ 0 w 1021"/>
                <a:gd name="T5" fmla="*/ 449 h 570"/>
                <a:gd name="T6" fmla="*/ 449 w 1021"/>
                <a:gd name="T7" fmla="*/ 0 h 570"/>
                <a:gd name="T8" fmla="*/ 608 w 1021"/>
                <a:gd name="T9" fmla="*/ 0 h 570"/>
                <a:gd name="T10" fmla="*/ 1021 w 1021"/>
                <a:gd name="T11" fmla="*/ 412 h 570"/>
                <a:gd name="T12" fmla="*/ 1021 w 1021"/>
                <a:gd name="T13" fmla="*/ 570 h 570"/>
              </a:gdLst>
              <a:ahLst/>
              <a:cxnLst>
                <a:cxn ang="0">
                  <a:pos x="T0" y="T1"/>
                </a:cxn>
                <a:cxn ang="0">
                  <a:pos x="T2" y="T3"/>
                </a:cxn>
                <a:cxn ang="0">
                  <a:pos x="T4" y="T5"/>
                </a:cxn>
                <a:cxn ang="0">
                  <a:pos x="T6" y="T7"/>
                </a:cxn>
                <a:cxn ang="0">
                  <a:pos x="T8" y="T9"/>
                </a:cxn>
                <a:cxn ang="0">
                  <a:pos x="T10" y="T11"/>
                </a:cxn>
                <a:cxn ang="0">
                  <a:pos x="T12" y="T13"/>
                </a:cxn>
              </a:cxnLst>
              <a:rect l="0" t="0" r="r" b="b"/>
              <a:pathLst>
                <a:path w="1021" h="570">
                  <a:moveTo>
                    <a:pt x="1021" y="570"/>
                  </a:moveTo>
                  <a:lnTo>
                    <a:pt x="0" y="570"/>
                  </a:lnTo>
                  <a:lnTo>
                    <a:pt x="0" y="449"/>
                  </a:lnTo>
                  <a:cubicBezTo>
                    <a:pt x="0" y="201"/>
                    <a:pt x="201" y="0"/>
                    <a:pt x="449" y="0"/>
                  </a:cubicBezTo>
                  <a:lnTo>
                    <a:pt x="608" y="0"/>
                  </a:lnTo>
                  <a:cubicBezTo>
                    <a:pt x="836" y="0"/>
                    <a:pt x="1021" y="185"/>
                    <a:pt x="1021" y="412"/>
                  </a:cubicBezTo>
                  <a:lnTo>
                    <a:pt x="1021" y="570"/>
                  </a:lnTo>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25" name="Rectangle 46">
              <a:extLst>
                <a:ext uri="{FF2B5EF4-FFF2-40B4-BE49-F238E27FC236}">
                  <a16:creationId xmlns:a16="http://schemas.microsoft.com/office/drawing/2014/main" id="{1964FEFC-8A29-0A42-9A2F-A602AD22094C}"/>
                </a:ext>
              </a:extLst>
            </p:cNvPr>
            <p:cNvSpPr>
              <a:spLocks noChangeArrowheads="1"/>
            </p:cNvSpPr>
            <p:nvPr/>
          </p:nvSpPr>
          <p:spPr bwMode="auto">
            <a:xfrm>
              <a:off x="2540489" y="4630771"/>
              <a:ext cx="76097" cy="196187"/>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26" name="Freeform 47">
              <a:extLst>
                <a:ext uri="{FF2B5EF4-FFF2-40B4-BE49-F238E27FC236}">
                  <a16:creationId xmlns:a16="http://schemas.microsoft.com/office/drawing/2014/main" id="{E4EFDA89-A3A6-8748-A2C2-BFD0837164A7}"/>
                </a:ext>
              </a:extLst>
            </p:cNvPr>
            <p:cNvSpPr>
              <a:spLocks/>
            </p:cNvSpPr>
            <p:nvPr/>
          </p:nvSpPr>
          <p:spPr bwMode="auto">
            <a:xfrm>
              <a:off x="2506007" y="4499980"/>
              <a:ext cx="145059" cy="206888"/>
            </a:xfrm>
            <a:custGeom>
              <a:avLst/>
              <a:gdLst>
                <a:gd name="T0" fmla="*/ 296 w 569"/>
                <a:gd name="T1" fmla="*/ 808 h 808"/>
                <a:gd name="T2" fmla="*/ 273 w 569"/>
                <a:gd name="T3" fmla="*/ 808 h 808"/>
                <a:gd name="T4" fmla="*/ 0 w 569"/>
                <a:gd name="T5" fmla="*/ 535 h 808"/>
                <a:gd name="T6" fmla="*/ 0 w 569"/>
                <a:gd name="T7" fmla="*/ 273 h 808"/>
                <a:gd name="T8" fmla="*/ 273 w 569"/>
                <a:gd name="T9" fmla="*/ 0 h 808"/>
                <a:gd name="T10" fmla="*/ 296 w 569"/>
                <a:gd name="T11" fmla="*/ 0 h 808"/>
                <a:gd name="T12" fmla="*/ 569 w 569"/>
                <a:gd name="T13" fmla="*/ 273 h 808"/>
                <a:gd name="T14" fmla="*/ 569 w 569"/>
                <a:gd name="T15" fmla="*/ 535 h 808"/>
                <a:gd name="T16" fmla="*/ 296 w 569"/>
                <a:gd name="T17" fmla="*/ 808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9" h="808">
                  <a:moveTo>
                    <a:pt x="296" y="808"/>
                  </a:moveTo>
                  <a:lnTo>
                    <a:pt x="273" y="808"/>
                  </a:lnTo>
                  <a:cubicBezTo>
                    <a:pt x="123" y="808"/>
                    <a:pt x="0" y="685"/>
                    <a:pt x="0" y="535"/>
                  </a:cubicBezTo>
                  <a:lnTo>
                    <a:pt x="0" y="273"/>
                  </a:lnTo>
                  <a:cubicBezTo>
                    <a:pt x="0" y="123"/>
                    <a:pt x="123" y="0"/>
                    <a:pt x="273" y="0"/>
                  </a:cubicBezTo>
                  <a:lnTo>
                    <a:pt x="296" y="0"/>
                  </a:lnTo>
                  <a:cubicBezTo>
                    <a:pt x="446" y="0"/>
                    <a:pt x="569" y="123"/>
                    <a:pt x="569" y="273"/>
                  </a:cubicBezTo>
                  <a:lnTo>
                    <a:pt x="569" y="535"/>
                  </a:lnTo>
                  <a:cubicBezTo>
                    <a:pt x="569" y="685"/>
                    <a:pt x="446" y="808"/>
                    <a:pt x="296" y="80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27" name="Freeform 48">
              <a:extLst>
                <a:ext uri="{FF2B5EF4-FFF2-40B4-BE49-F238E27FC236}">
                  <a16:creationId xmlns:a16="http://schemas.microsoft.com/office/drawing/2014/main" id="{35BBFF78-2012-824E-8269-0C58B7686F4A}"/>
                </a:ext>
              </a:extLst>
            </p:cNvPr>
            <p:cNvSpPr>
              <a:spLocks/>
            </p:cNvSpPr>
            <p:nvPr/>
          </p:nvSpPr>
          <p:spPr bwMode="auto">
            <a:xfrm>
              <a:off x="2484605" y="4574887"/>
              <a:ext cx="34482" cy="55884"/>
            </a:xfrm>
            <a:custGeom>
              <a:avLst/>
              <a:gdLst>
                <a:gd name="T0" fmla="*/ 74 w 134"/>
                <a:gd name="T1" fmla="*/ 217 h 217"/>
                <a:gd name="T2" fmla="*/ 60 w 134"/>
                <a:gd name="T3" fmla="*/ 217 h 217"/>
                <a:gd name="T4" fmla="*/ 0 w 134"/>
                <a:gd name="T5" fmla="*/ 157 h 217"/>
                <a:gd name="T6" fmla="*/ 0 w 134"/>
                <a:gd name="T7" fmla="*/ 60 h 217"/>
                <a:gd name="T8" fmla="*/ 60 w 134"/>
                <a:gd name="T9" fmla="*/ 0 h 217"/>
                <a:gd name="T10" fmla="*/ 74 w 134"/>
                <a:gd name="T11" fmla="*/ 0 h 217"/>
                <a:gd name="T12" fmla="*/ 134 w 134"/>
                <a:gd name="T13" fmla="*/ 60 h 217"/>
                <a:gd name="T14" fmla="*/ 134 w 134"/>
                <a:gd name="T15" fmla="*/ 157 h 217"/>
                <a:gd name="T16" fmla="*/ 74 w 134"/>
                <a:gd name="T17" fmla="*/ 21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217">
                  <a:moveTo>
                    <a:pt x="74" y="217"/>
                  </a:moveTo>
                  <a:lnTo>
                    <a:pt x="60" y="217"/>
                  </a:lnTo>
                  <a:cubicBezTo>
                    <a:pt x="27" y="217"/>
                    <a:pt x="0" y="190"/>
                    <a:pt x="0" y="157"/>
                  </a:cubicBezTo>
                  <a:lnTo>
                    <a:pt x="0" y="60"/>
                  </a:lnTo>
                  <a:cubicBezTo>
                    <a:pt x="0" y="27"/>
                    <a:pt x="27" y="0"/>
                    <a:pt x="60" y="0"/>
                  </a:cubicBezTo>
                  <a:lnTo>
                    <a:pt x="74" y="0"/>
                  </a:lnTo>
                  <a:cubicBezTo>
                    <a:pt x="107" y="0"/>
                    <a:pt x="134" y="27"/>
                    <a:pt x="134" y="60"/>
                  </a:cubicBezTo>
                  <a:lnTo>
                    <a:pt x="134" y="157"/>
                  </a:lnTo>
                  <a:cubicBezTo>
                    <a:pt x="134" y="190"/>
                    <a:pt x="107" y="217"/>
                    <a:pt x="74" y="21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28" name="Freeform 49">
              <a:extLst>
                <a:ext uri="{FF2B5EF4-FFF2-40B4-BE49-F238E27FC236}">
                  <a16:creationId xmlns:a16="http://schemas.microsoft.com/office/drawing/2014/main" id="{9DE38E92-AA84-A247-9AFE-424506DDA1C6}"/>
                </a:ext>
              </a:extLst>
            </p:cNvPr>
            <p:cNvSpPr>
              <a:spLocks/>
            </p:cNvSpPr>
            <p:nvPr/>
          </p:nvSpPr>
          <p:spPr bwMode="auto">
            <a:xfrm>
              <a:off x="2639176" y="4574887"/>
              <a:ext cx="34482" cy="55884"/>
            </a:xfrm>
            <a:custGeom>
              <a:avLst/>
              <a:gdLst>
                <a:gd name="T0" fmla="*/ 74 w 134"/>
                <a:gd name="T1" fmla="*/ 217 h 217"/>
                <a:gd name="T2" fmla="*/ 60 w 134"/>
                <a:gd name="T3" fmla="*/ 217 h 217"/>
                <a:gd name="T4" fmla="*/ 0 w 134"/>
                <a:gd name="T5" fmla="*/ 157 h 217"/>
                <a:gd name="T6" fmla="*/ 0 w 134"/>
                <a:gd name="T7" fmla="*/ 60 h 217"/>
                <a:gd name="T8" fmla="*/ 60 w 134"/>
                <a:gd name="T9" fmla="*/ 0 h 217"/>
                <a:gd name="T10" fmla="*/ 74 w 134"/>
                <a:gd name="T11" fmla="*/ 0 h 217"/>
                <a:gd name="T12" fmla="*/ 134 w 134"/>
                <a:gd name="T13" fmla="*/ 60 h 217"/>
                <a:gd name="T14" fmla="*/ 134 w 134"/>
                <a:gd name="T15" fmla="*/ 157 h 217"/>
                <a:gd name="T16" fmla="*/ 74 w 134"/>
                <a:gd name="T17" fmla="*/ 21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217">
                  <a:moveTo>
                    <a:pt x="74" y="217"/>
                  </a:moveTo>
                  <a:lnTo>
                    <a:pt x="60" y="217"/>
                  </a:lnTo>
                  <a:cubicBezTo>
                    <a:pt x="27" y="217"/>
                    <a:pt x="0" y="190"/>
                    <a:pt x="0" y="157"/>
                  </a:cubicBezTo>
                  <a:lnTo>
                    <a:pt x="0" y="60"/>
                  </a:lnTo>
                  <a:cubicBezTo>
                    <a:pt x="0" y="27"/>
                    <a:pt x="27" y="0"/>
                    <a:pt x="60" y="0"/>
                  </a:cubicBezTo>
                  <a:lnTo>
                    <a:pt x="74" y="0"/>
                  </a:lnTo>
                  <a:cubicBezTo>
                    <a:pt x="107" y="0"/>
                    <a:pt x="134" y="27"/>
                    <a:pt x="134" y="60"/>
                  </a:cubicBezTo>
                  <a:lnTo>
                    <a:pt x="134" y="157"/>
                  </a:lnTo>
                  <a:cubicBezTo>
                    <a:pt x="134" y="190"/>
                    <a:pt x="107" y="217"/>
                    <a:pt x="74" y="21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29" name="Freeform 50">
              <a:extLst>
                <a:ext uri="{FF2B5EF4-FFF2-40B4-BE49-F238E27FC236}">
                  <a16:creationId xmlns:a16="http://schemas.microsoft.com/office/drawing/2014/main" id="{497FD604-6A74-EB48-BFF5-DCAF027A082C}"/>
                </a:ext>
              </a:extLst>
            </p:cNvPr>
            <p:cNvSpPr>
              <a:spLocks/>
            </p:cNvSpPr>
            <p:nvPr/>
          </p:nvSpPr>
          <p:spPr bwMode="auto">
            <a:xfrm>
              <a:off x="2844875" y="4263367"/>
              <a:ext cx="1467238" cy="492250"/>
            </a:xfrm>
            <a:custGeom>
              <a:avLst/>
              <a:gdLst>
                <a:gd name="T0" fmla="*/ 5169 w 5721"/>
                <a:gd name="T1" fmla="*/ 1920 h 1920"/>
                <a:gd name="T2" fmla="*/ 552 w 5721"/>
                <a:gd name="T3" fmla="*/ 1920 h 1920"/>
                <a:gd name="T4" fmla="*/ 0 w 5721"/>
                <a:gd name="T5" fmla="*/ 1368 h 1920"/>
                <a:gd name="T6" fmla="*/ 0 w 5721"/>
                <a:gd name="T7" fmla="*/ 552 h 1920"/>
                <a:gd name="T8" fmla="*/ 552 w 5721"/>
                <a:gd name="T9" fmla="*/ 0 h 1920"/>
                <a:gd name="T10" fmla="*/ 5169 w 5721"/>
                <a:gd name="T11" fmla="*/ 0 h 1920"/>
                <a:gd name="T12" fmla="*/ 5721 w 5721"/>
                <a:gd name="T13" fmla="*/ 552 h 1920"/>
                <a:gd name="T14" fmla="*/ 5721 w 5721"/>
                <a:gd name="T15" fmla="*/ 1368 h 1920"/>
                <a:gd name="T16" fmla="*/ 5169 w 5721"/>
                <a:gd name="T17" fmla="*/ 1920 h 1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21" h="1920">
                  <a:moveTo>
                    <a:pt x="5169" y="1920"/>
                  </a:moveTo>
                  <a:lnTo>
                    <a:pt x="552" y="1920"/>
                  </a:lnTo>
                  <a:cubicBezTo>
                    <a:pt x="249" y="1920"/>
                    <a:pt x="0" y="1671"/>
                    <a:pt x="0" y="1368"/>
                  </a:cubicBezTo>
                  <a:lnTo>
                    <a:pt x="0" y="552"/>
                  </a:lnTo>
                  <a:cubicBezTo>
                    <a:pt x="0" y="248"/>
                    <a:pt x="249" y="0"/>
                    <a:pt x="552" y="0"/>
                  </a:cubicBezTo>
                  <a:lnTo>
                    <a:pt x="5169" y="0"/>
                  </a:lnTo>
                  <a:cubicBezTo>
                    <a:pt x="5473" y="0"/>
                    <a:pt x="5721" y="248"/>
                    <a:pt x="5721" y="552"/>
                  </a:cubicBezTo>
                  <a:lnTo>
                    <a:pt x="5721" y="1368"/>
                  </a:lnTo>
                  <a:cubicBezTo>
                    <a:pt x="5721" y="1671"/>
                    <a:pt x="5473" y="1920"/>
                    <a:pt x="5169" y="1920"/>
                  </a:cubicBez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30" name="Freeform 51">
              <a:extLst>
                <a:ext uri="{FF2B5EF4-FFF2-40B4-BE49-F238E27FC236}">
                  <a16:creationId xmlns:a16="http://schemas.microsoft.com/office/drawing/2014/main" id="{EC4218CD-41A3-A143-9698-F6173A27E703}"/>
                </a:ext>
              </a:extLst>
            </p:cNvPr>
            <p:cNvSpPr>
              <a:spLocks/>
            </p:cNvSpPr>
            <p:nvPr/>
          </p:nvSpPr>
          <p:spPr bwMode="auto">
            <a:xfrm>
              <a:off x="3036305" y="4387024"/>
              <a:ext cx="401885" cy="30914"/>
            </a:xfrm>
            <a:custGeom>
              <a:avLst/>
              <a:gdLst>
                <a:gd name="T0" fmla="*/ 1505 w 1567"/>
                <a:gd name="T1" fmla="*/ 124 h 124"/>
                <a:gd name="T2" fmla="*/ 61 w 1567"/>
                <a:gd name="T3" fmla="*/ 124 h 124"/>
                <a:gd name="T4" fmla="*/ 0 w 1567"/>
                <a:gd name="T5" fmla="*/ 62 h 124"/>
                <a:gd name="T6" fmla="*/ 0 w 1567"/>
                <a:gd name="T7" fmla="*/ 62 h 124"/>
                <a:gd name="T8" fmla="*/ 61 w 1567"/>
                <a:gd name="T9" fmla="*/ 0 h 124"/>
                <a:gd name="T10" fmla="*/ 1505 w 1567"/>
                <a:gd name="T11" fmla="*/ 0 h 124"/>
                <a:gd name="T12" fmla="*/ 1567 w 1567"/>
                <a:gd name="T13" fmla="*/ 62 h 124"/>
                <a:gd name="T14" fmla="*/ 1567 w 1567"/>
                <a:gd name="T15" fmla="*/ 62 h 124"/>
                <a:gd name="T16" fmla="*/ 1505 w 1567"/>
                <a:gd name="T17"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7" h="124">
                  <a:moveTo>
                    <a:pt x="1505" y="124"/>
                  </a:moveTo>
                  <a:lnTo>
                    <a:pt x="61" y="124"/>
                  </a:lnTo>
                  <a:cubicBezTo>
                    <a:pt x="27" y="124"/>
                    <a:pt x="0" y="96"/>
                    <a:pt x="0" y="62"/>
                  </a:cubicBezTo>
                  <a:lnTo>
                    <a:pt x="0" y="62"/>
                  </a:lnTo>
                  <a:cubicBezTo>
                    <a:pt x="0" y="28"/>
                    <a:pt x="27" y="0"/>
                    <a:pt x="61" y="0"/>
                  </a:cubicBezTo>
                  <a:lnTo>
                    <a:pt x="1505" y="0"/>
                  </a:lnTo>
                  <a:cubicBezTo>
                    <a:pt x="1539" y="0"/>
                    <a:pt x="1567" y="28"/>
                    <a:pt x="1567" y="62"/>
                  </a:cubicBezTo>
                  <a:lnTo>
                    <a:pt x="1567" y="62"/>
                  </a:lnTo>
                  <a:cubicBezTo>
                    <a:pt x="1567" y="96"/>
                    <a:pt x="1539" y="124"/>
                    <a:pt x="1505" y="12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31" name="Freeform 52">
              <a:extLst>
                <a:ext uri="{FF2B5EF4-FFF2-40B4-BE49-F238E27FC236}">
                  <a16:creationId xmlns:a16="http://schemas.microsoft.com/office/drawing/2014/main" id="{FB48F41A-E9E6-9541-8A4E-0AEF07225CD5}"/>
                </a:ext>
              </a:extLst>
            </p:cNvPr>
            <p:cNvSpPr>
              <a:spLocks/>
            </p:cNvSpPr>
            <p:nvPr/>
          </p:nvSpPr>
          <p:spPr bwMode="auto">
            <a:xfrm>
              <a:off x="3475050" y="4387024"/>
              <a:ext cx="401885" cy="30914"/>
            </a:xfrm>
            <a:custGeom>
              <a:avLst/>
              <a:gdLst>
                <a:gd name="T0" fmla="*/ 1506 w 1568"/>
                <a:gd name="T1" fmla="*/ 124 h 124"/>
                <a:gd name="T2" fmla="*/ 62 w 1568"/>
                <a:gd name="T3" fmla="*/ 124 h 124"/>
                <a:gd name="T4" fmla="*/ 0 w 1568"/>
                <a:gd name="T5" fmla="*/ 62 h 124"/>
                <a:gd name="T6" fmla="*/ 0 w 1568"/>
                <a:gd name="T7" fmla="*/ 62 h 124"/>
                <a:gd name="T8" fmla="*/ 62 w 1568"/>
                <a:gd name="T9" fmla="*/ 0 h 124"/>
                <a:gd name="T10" fmla="*/ 1506 w 1568"/>
                <a:gd name="T11" fmla="*/ 0 h 124"/>
                <a:gd name="T12" fmla="*/ 1568 w 1568"/>
                <a:gd name="T13" fmla="*/ 62 h 124"/>
                <a:gd name="T14" fmla="*/ 1568 w 1568"/>
                <a:gd name="T15" fmla="*/ 62 h 124"/>
                <a:gd name="T16" fmla="*/ 1506 w 1568"/>
                <a:gd name="T17"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8" h="124">
                  <a:moveTo>
                    <a:pt x="1506" y="124"/>
                  </a:moveTo>
                  <a:lnTo>
                    <a:pt x="62" y="124"/>
                  </a:lnTo>
                  <a:cubicBezTo>
                    <a:pt x="28" y="124"/>
                    <a:pt x="0" y="96"/>
                    <a:pt x="0" y="62"/>
                  </a:cubicBezTo>
                  <a:lnTo>
                    <a:pt x="0" y="62"/>
                  </a:lnTo>
                  <a:cubicBezTo>
                    <a:pt x="0" y="28"/>
                    <a:pt x="28" y="0"/>
                    <a:pt x="62" y="0"/>
                  </a:cubicBezTo>
                  <a:lnTo>
                    <a:pt x="1506" y="0"/>
                  </a:lnTo>
                  <a:cubicBezTo>
                    <a:pt x="1540" y="0"/>
                    <a:pt x="1568" y="28"/>
                    <a:pt x="1568" y="62"/>
                  </a:cubicBezTo>
                  <a:lnTo>
                    <a:pt x="1568" y="62"/>
                  </a:lnTo>
                  <a:cubicBezTo>
                    <a:pt x="1568" y="96"/>
                    <a:pt x="1540" y="124"/>
                    <a:pt x="1506" y="12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32" name="Freeform 53">
              <a:extLst>
                <a:ext uri="{FF2B5EF4-FFF2-40B4-BE49-F238E27FC236}">
                  <a16:creationId xmlns:a16="http://schemas.microsoft.com/office/drawing/2014/main" id="{549E39ED-28AF-E84A-9564-33E901821EB1}"/>
                </a:ext>
              </a:extLst>
            </p:cNvPr>
            <p:cNvSpPr>
              <a:spLocks/>
            </p:cNvSpPr>
            <p:nvPr/>
          </p:nvSpPr>
          <p:spPr bwMode="auto">
            <a:xfrm>
              <a:off x="3036305" y="4558241"/>
              <a:ext cx="609962" cy="30914"/>
            </a:xfrm>
            <a:custGeom>
              <a:avLst/>
              <a:gdLst>
                <a:gd name="T0" fmla="*/ 2319 w 2381"/>
                <a:gd name="T1" fmla="*/ 123 h 123"/>
                <a:gd name="T2" fmla="*/ 61 w 2381"/>
                <a:gd name="T3" fmla="*/ 123 h 123"/>
                <a:gd name="T4" fmla="*/ 0 w 2381"/>
                <a:gd name="T5" fmla="*/ 61 h 123"/>
                <a:gd name="T6" fmla="*/ 0 w 2381"/>
                <a:gd name="T7" fmla="*/ 61 h 123"/>
                <a:gd name="T8" fmla="*/ 61 w 2381"/>
                <a:gd name="T9" fmla="*/ 0 h 123"/>
                <a:gd name="T10" fmla="*/ 2319 w 2381"/>
                <a:gd name="T11" fmla="*/ 0 h 123"/>
                <a:gd name="T12" fmla="*/ 2381 w 2381"/>
                <a:gd name="T13" fmla="*/ 61 h 123"/>
                <a:gd name="T14" fmla="*/ 2381 w 2381"/>
                <a:gd name="T15" fmla="*/ 61 h 123"/>
                <a:gd name="T16" fmla="*/ 2319 w 2381"/>
                <a:gd name="T17" fmla="*/ 12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1" h="123">
                  <a:moveTo>
                    <a:pt x="2319" y="123"/>
                  </a:moveTo>
                  <a:lnTo>
                    <a:pt x="61" y="123"/>
                  </a:lnTo>
                  <a:cubicBezTo>
                    <a:pt x="27" y="123"/>
                    <a:pt x="0" y="95"/>
                    <a:pt x="0" y="61"/>
                  </a:cubicBezTo>
                  <a:lnTo>
                    <a:pt x="0" y="61"/>
                  </a:lnTo>
                  <a:cubicBezTo>
                    <a:pt x="0" y="27"/>
                    <a:pt x="27" y="0"/>
                    <a:pt x="61" y="0"/>
                  </a:cubicBezTo>
                  <a:lnTo>
                    <a:pt x="2319" y="0"/>
                  </a:lnTo>
                  <a:cubicBezTo>
                    <a:pt x="2353" y="0"/>
                    <a:pt x="2381" y="27"/>
                    <a:pt x="2381" y="61"/>
                  </a:cubicBezTo>
                  <a:lnTo>
                    <a:pt x="2381" y="61"/>
                  </a:lnTo>
                  <a:cubicBezTo>
                    <a:pt x="2381" y="95"/>
                    <a:pt x="2353" y="123"/>
                    <a:pt x="2319" y="123"/>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33" name="Freeform 54">
              <a:extLst>
                <a:ext uri="{FF2B5EF4-FFF2-40B4-BE49-F238E27FC236}">
                  <a16:creationId xmlns:a16="http://schemas.microsoft.com/office/drawing/2014/main" id="{DA4A78B4-2D72-3E43-9C6F-558E33E90AB8}"/>
                </a:ext>
              </a:extLst>
            </p:cNvPr>
            <p:cNvSpPr>
              <a:spLocks/>
            </p:cNvSpPr>
            <p:nvPr/>
          </p:nvSpPr>
          <p:spPr bwMode="auto">
            <a:xfrm>
              <a:off x="3674804" y="4558241"/>
              <a:ext cx="211644" cy="30914"/>
            </a:xfrm>
            <a:custGeom>
              <a:avLst/>
              <a:gdLst>
                <a:gd name="T0" fmla="*/ 760 w 822"/>
                <a:gd name="T1" fmla="*/ 123 h 123"/>
                <a:gd name="T2" fmla="*/ 62 w 822"/>
                <a:gd name="T3" fmla="*/ 123 h 123"/>
                <a:gd name="T4" fmla="*/ 0 w 822"/>
                <a:gd name="T5" fmla="*/ 61 h 123"/>
                <a:gd name="T6" fmla="*/ 0 w 822"/>
                <a:gd name="T7" fmla="*/ 61 h 123"/>
                <a:gd name="T8" fmla="*/ 62 w 822"/>
                <a:gd name="T9" fmla="*/ 0 h 123"/>
                <a:gd name="T10" fmla="*/ 760 w 822"/>
                <a:gd name="T11" fmla="*/ 0 h 123"/>
                <a:gd name="T12" fmla="*/ 822 w 822"/>
                <a:gd name="T13" fmla="*/ 61 h 123"/>
                <a:gd name="T14" fmla="*/ 822 w 822"/>
                <a:gd name="T15" fmla="*/ 61 h 123"/>
                <a:gd name="T16" fmla="*/ 760 w 822"/>
                <a:gd name="T17" fmla="*/ 12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2" h="123">
                  <a:moveTo>
                    <a:pt x="760" y="123"/>
                  </a:moveTo>
                  <a:lnTo>
                    <a:pt x="62" y="123"/>
                  </a:lnTo>
                  <a:cubicBezTo>
                    <a:pt x="28" y="123"/>
                    <a:pt x="0" y="95"/>
                    <a:pt x="0" y="61"/>
                  </a:cubicBezTo>
                  <a:lnTo>
                    <a:pt x="0" y="61"/>
                  </a:lnTo>
                  <a:cubicBezTo>
                    <a:pt x="0" y="27"/>
                    <a:pt x="28" y="0"/>
                    <a:pt x="62" y="0"/>
                  </a:cubicBezTo>
                  <a:lnTo>
                    <a:pt x="760" y="0"/>
                  </a:lnTo>
                  <a:cubicBezTo>
                    <a:pt x="794" y="0"/>
                    <a:pt x="822" y="27"/>
                    <a:pt x="822" y="61"/>
                  </a:cubicBezTo>
                  <a:lnTo>
                    <a:pt x="822" y="61"/>
                  </a:lnTo>
                  <a:cubicBezTo>
                    <a:pt x="822" y="95"/>
                    <a:pt x="794" y="123"/>
                    <a:pt x="760" y="123"/>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38" name="Freeform 55">
              <a:extLst>
                <a:ext uri="{FF2B5EF4-FFF2-40B4-BE49-F238E27FC236}">
                  <a16:creationId xmlns:a16="http://schemas.microsoft.com/office/drawing/2014/main" id="{98E67EF1-EE42-7846-8E2C-26AC63E3E41A}"/>
                </a:ext>
              </a:extLst>
            </p:cNvPr>
            <p:cNvSpPr>
              <a:spLocks/>
            </p:cNvSpPr>
            <p:nvPr/>
          </p:nvSpPr>
          <p:spPr bwMode="auto">
            <a:xfrm>
              <a:off x="3936386" y="4558241"/>
              <a:ext cx="210455" cy="30914"/>
            </a:xfrm>
            <a:custGeom>
              <a:avLst/>
              <a:gdLst>
                <a:gd name="T0" fmla="*/ 760 w 822"/>
                <a:gd name="T1" fmla="*/ 123 h 123"/>
                <a:gd name="T2" fmla="*/ 61 w 822"/>
                <a:gd name="T3" fmla="*/ 123 h 123"/>
                <a:gd name="T4" fmla="*/ 0 w 822"/>
                <a:gd name="T5" fmla="*/ 61 h 123"/>
                <a:gd name="T6" fmla="*/ 0 w 822"/>
                <a:gd name="T7" fmla="*/ 61 h 123"/>
                <a:gd name="T8" fmla="*/ 61 w 822"/>
                <a:gd name="T9" fmla="*/ 0 h 123"/>
                <a:gd name="T10" fmla="*/ 760 w 822"/>
                <a:gd name="T11" fmla="*/ 0 h 123"/>
                <a:gd name="T12" fmla="*/ 822 w 822"/>
                <a:gd name="T13" fmla="*/ 61 h 123"/>
                <a:gd name="T14" fmla="*/ 822 w 822"/>
                <a:gd name="T15" fmla="*/ 61 h 123"/>
                <a:gd name="T16" fmla="*/ 760 w 822"/>
                <a:gd name="T17" fmla="*/ 12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2" h="123">
                  <a:moveTo>
                    <a:pt x="760" y="123"/>
                  </a:moveTo>
                  <a:lnTo>
                    <a:pt x="61" y="123"/>
                  </a:lnTo>
                  <a:cubicBezTo>
                    <a:pt x="27" y="123"/>
                    <a:pt x="0" y="95"/>
                    <a:pt x="0" y="61"/>
                  </a:cubicBezTo>
                  <a:lnTo>
                    <a:pt x="0" y="61"/>
                  </a:lnTo>
                  <a:cubicBezTo>
                    <a:pt x="0" y="27"/>
                    <a:pt x="27" y="0"/>
                    <a:pt x="61" y="0"/>
                  </a:cubicBezTo>
                  <a:lnTo>
                    <a:pt x="760" y="0"/>
                  </a:lnTo>
                  <a:cubicBezTo>
                    <a:pt x="794" y="0"/>
                    <a:pt x="822" y="27"/>
                    <a:pt x="822" y="61"/>
                  </a:cubicBezTo>
                  <a:lnTo>
                    <a:pt x="822" y="61"/>
                  </a:lnTo>
                  <a:cubicBezTo>
                    <a:pt x="822" y="95"/>
                    <a:pt x="794" y="123"/>
                    <a:pt x="760" y="123"/>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39" name="Freeform 56">
              <a:extLst>
                <a:ext uri="{FF2B5EF4-FFF2-40B4-BE49-F238E27FC236}">
                  <a16:creationId xmlns:a16="http://schemas.microsoft.com/office/drawing/2014/main" id="{D62E0568-D743-3644-AF8A-D7A08A499AD8}"/>
                </a:ext>
              </a:extLst>
            </p:cNvPr>
            <p:cNvSpPr>
              <a:spLocks/>
            </p:cNvSpPr>
            <p:nvPr/>
          </p:nvSpPr>
          <p:spPr bwMode="auto">
            <a:xfrm>
              <a:off x="2781857" y="4526138"/>
              <a:ext cx="430421" cy="281796"/>
            </a:xfrm>
            <a:custGeom>
              <a:avLst/>
              <a:gdLst>
                <a:gd name="T0" fmla="*/ 507 w 1678"/>
                <a:gd name="T1" fmla="*/ 0 h 1099"/>
                <a:gd name="T2" fmla="*/ 0 w 1678"/>
                <a:gd name="T3" fmla="*/ 1099 h 1099"/>
                <a:gd name="T4" fmla="*/ 1678 w 1678"/>
                <a:gd name="T5" fmla="*/ 555 h 1099"/>
                <a:gd name="T6" fmla="*/ 507 w 1678"/>
                <a:gd name="T7" fmla="*/ 0 h 1099"/>
              </a:gdLst>
              <a:ahLst/>
              <a:cxnLst>
                <a:cxn ang="0">
                  <a:pos x="T0" y="T1"/>
                </a:cxn>
                <a:cxn ang="0">
                  <a:pos x="T2" y="T3"/>
                </a:cxn>
                <a:cxn ang="0">
                  <a:pos x="T4" y="T5"/>
                </a:cxn>
                <a:cxn ang="0">
                  <a:pos x="T6" y="T7"/>
                </a:cxn>
              </a:cxnLst>
              <a:rect l="0" t="0" r="r" b="b"/>
              <a:pathLst>
                <a:path w="1678" h="1099">
                  <a:moveTo>
                    <a:pt x="507" y="0"/>
                  </a:moveTo>
                  <a:lnTo>
                    <a:pt x="0" y="1099"/>
                  </a:lnTo>
                  <a:lnTo>
                    <a:pt x="1678" y="555"/>
                  </a:lnTo>
                  <a:lnTo>
                    <a:pt x="507" y="0"/>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40" name="Freeform 57">
              <a:extLst>
                <a:ext uri="{FF2B5EF4-FFF2-40B4-BE49-F238E27FC236}">
                  <a16:creationId xmlns:a16="http://schemas.microsoft.com/office/drawing/2014/main" id="{05FBB05A-15D6-9546-96B8-74E6EA931C3B}"/>
                </a:ext>
              </a:extLst>
            </p:cNvPr>
            <p:cNvSpPr>
              <a:spLocks/>
            </p:cNvSpPr>
            <p:nvPr/>
          </p:nvSpPr>
          <p:spPr bwMode="auto">
            <a:xfrm>
              <a:off x="2087476" y="4158734"/>
              <a:ext cx="271094" cy="51128"/>
            </a:xfrm>
            <a:custGeom>
              <a:avLst/>
              <a:gdLst>
                <a:gd name="T0" fmla="*/ 1024 w 1056"/>
                <a:gd name="T1" fmla="*/ 196 h 196"/>
                <a:gd name="T2" fmla="*/ 32 w 1056"/>
                <a:gd name="T3" fmla="*/ 196 h 196"/>
                <a:gd name="T4" fmla="*/ 0 w 1056"/>
                <a:gd name="T5" fmla="*/ 164 h 196"/>
                <a:gd name="T6" fmla="*/ 0 w 1056"/>
                <a:gd name="T7" fmla="*/ 32 h 196"/>
                <a:gd name="T8" fmla="*/ 32 w 1056"/>
                <a:gd name="T9" fmla="*/ 0 h 196"/>
                <a:gd name="T10" fmla="*/ 1024 w 1056"/>
                <a:gd name="T11" fmla="*/ 0 h 196"/>
                <a:gd name="T12" fmla="*/ 1056 w 1056"/>
                <a:gd name="T13" fmla="*/ 32 h 196"/>
                <a:gd name="T14" fmla="*/ 1056 w 1056"/>
                <a:gd name="T15" fmla="*/ 164 h 196"/>
                <a:gd name="T16" fmla="*/ 1024 w 1056"/>
                <a:gd name="T17"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6" h="196">
                  <a:moveTo>
                    <a:pt x="1024" y="196"/>
                  </a:moveTo>
                  <a:lnTo>
                    <a:pt x="32" y="196"/>
                  </a:lnTo>
                  <a:cubicBezTo>
                    <a:pt x="14" y="196"/>
                    <a:pt x="0" y="181"/>
                    <a:pt x="0" y="164"/>
                  </a:cubicBezTo>
                  <a:lnTo>
                    <a:pt x="0" y="32"/>
                  </a:lnTo>
                  <a:cubicBezTo>
                    <a:pt x="0" y="14"/>
                    <a:pt x="14" y="0"/>
                    <a:pt x="32" y="0"/>
                  </a:cubicBezTo>
                  <a:lnTo>
                    <a:pt x="1024" y="0"/>
                  </a:lnTo>
                  <a:cubicBezTo>
                    <a:pt x="1042" y="0"/>
                    <a:pt x="1056" y="14"/>
                    <a:pt x="1056" y="32"/>
                  </a:cubicBezTo>
                  <a:lnTo>
                    <a:pt x="1056" y="164"/>
                  </a:lnTo>
                  <a:cubicBezTo>
                    <a:pt x="1056" y="181"/>
                    <a:pt x="1042" y="196"/>
                    <a:pt x="1024" y="19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41" name="Freeform 58">
              <a:extLst>
                <a:ext uri="{FF2B5EF4-FFF2-40B4-BE49-F238E27FC236}">
                  <a16:creationId xmlns:a16="http://schemas.microsoft.com/office/drawing/2014/main" id="{CA439198-7E26-0741-B48C-DA8A047ADBD7}"/>
                </a:ext>
              </a:extLst>
            </p:cNvPr>
            <p:cNvSpPr>
              <a:spLocks/>
            </p:cNvSpPr>
            <p:nvPr/>
          </p:nvSpPr>
          <p:spPr bwMode="auto">
            <a:xfrm>
              <a:off x="2465581" y="6486815"/>
              <a:ext cx="1111724" cy="353136"/>
            </a:xfrm>
            <a:custGeom>
              <a:avLst/>
              <a:gdLst>
                <a:gd name="T0" fmla="*/ 0 w 935"/>
                <a:gd name="T1" fmla="*/ 179 h 297"/>
                <a:gd name="T2" fmla="*/ 860 w 935"/>
                <a:gd name="T3" fmla="*/ 0 h 297"/>
                <a:gd name="T4" fmla="*/ 935 w 935"/>
                <a:gd name="T5" fmla="*/ 297 h 297"/>
                <a:gd name="T6" fmla="*/ 52 w 935"/>
                <a:gd name="T7" fmla="*/ 297 h 297"/>
                <a:gd name="T8" fmla="*/ 0 w 935"/>
                <a:gd name="T9" fmla="*/ 179 h 297"/>
              </a:gdLst>
              <a:ahLst/>
              <a:cxnLst>
                <a:cxn ang="0">
                  <a:pos x="T0" y="T1"/>
                </a:cxn>
                <a:cxn ang="0">
                  <a:pos x="T2" y="T3"/>
                </a:cxn>
                <a:cxn ang="0">
                  <a:pos x="T4" y="T5"/>
                </a:cxn>
                <a:cxn ang="0">
                  <a:pos x="T6" y="T7"/>
                </a:cxn>
                <a:cxn ang="0">
                  <a:pos x="T8" y="T9"/>
                </a:cxn>
              </a:cxnLst>
              <a:rect l="0" t="0" r="r" b="b"/>
              <a:pathLst>
                <a:path w="935" h="297">
                  <a:moveTo>
                    <a:pt x="0" y="179"/>
                  </a:moveTo>
                  <a:lnTo>
                    <a:pt x="860" y="0"/>
                  </a:lnTo>
                  <a:lnTo>
                    <a:pt x="935" y="297"/>
                  </a:lnTo>
                  <a:lnTo>
                    <a:pt x="52" y="297"/>
                  </a:lnTo>
                  <a:lnTo>
                    <a:pt x="0" y="17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42" name="Freeform 59">
              <a:extLst>
                <a:ext uri="{FF2B5EF4-FFF2-40B4-BE49-F238E27FC236}">
                  <a16:creationId xmlns:a16="http://schemas.microsoft.com/office/drawing/2014/main" id="{14E03D1F-6F46-A844-B1FC-182B70680B6E}"/>
                </a:ext>
              </a:extLst>
            </p:cNvPr>
            <p:cNvSpPr>
              <a:spLocks/>
            </p:cNvSpPr>
            <p:nvPr/>
          </p:nvSpPr>
          <p:spPr bwMode="auto">
            <a:xfrm>
              <a:off x="2465581" y="6617606"/>
              <a:ext cx="759777" cy="222345"/>
            </a:xfrm>
            <a:custGeom>
              <a:avLst/>
              <a:gdLst>
                <a:gd name="T0" fmla="*/ 639 w 639"/>
                <a:gd name="T1" fmla="*/ 187 h 187"/>
                <a:gd name="T2" fmla="*/ 332 w 639"/>
                <a:gd name="T3" fmla="*/ 0 h 187"/>
                <a:gd name="T4" fmla="*/ 0 w 639"/>
                <a:gd name="T5" fmla="*/ 69 h 187"/>
                <a:gd name="T6" fmla="*/ 52 w 639"/>
                <a:gd name="T7" fmla="*/ 187 h 187"/>
                <a:gd name="T8" fmla="*/ 639 w 639"/>
                <a:gd name="T9" fmla="*/ 187 h 187"/>
              </a:gdLst>
              <a:ahLst/>
              <a:cxnLst>
                <a:cxn ang="0">
                  <a:pos x="T0" y="T1"/>
                </a:cxn>
                <a:cxn ang="0">
                  <a:pos x="T2" y="T3"/>
                </a:cxn>
                <a:cxn ang="0">
                  <a:pos x="T4" y="T5"/>
                </a:cxn>
                <a:cxn ang="0">
                  <a:pos x="T6" y="T7"/>
                </a:cxn>
                <a:cxn ang="0">
                  <a:pos x="T8" y="T9"/>
                </a:cxn>
              </a:cxnLst>
              <a:rect l="0" t="0" r="r" b="b"/>
              <a:pathLst>
                <a:path w="639" h="187">
                  <a:moveTo>
                    <a:pt x="639" y="187"/>
                  </a:moveTo>
                  <a:lnTo>
                    <a:pt x="332" y="0"/>
                  </a:lnTo>
                  <a:lnTo>
                    <a:pt x="0" y="69"/>
                  </a:lnTo>
                  <a:lnTo>
                    <a:pt x="52" y="187"/>
                  </a:lnTo>
                  <a:lnTo>
                    <a:pt x="639" y="18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46" name="Rectangle 60">
              <a:extLst>
                <a:ext uri="{FF2B5EF4-FFF2-40B4-BE49-F238E27FC236}">
                  <a16:creationId xmlns:a16="http://schemas.microsoft.com/office/drawing/2014/main" id="{AF483CE2-E37A-084A-A077-A141628877DE}"/>
                </a:ext>
              </a:extLst>
            </p:cNvPr>
            <p:cNvSpPr>
              <a:spLocks noChangeArrowheads="1"/>
            </p:cNvSpPr>
            <p:nvPr/>
          </p:nvSpPr>
          <p:spPr bwMode="auto">
            <a:xfrm>
              <a:off x="1913880" y="3406091"/>
              <a:ext cx="976177" cy="21758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47" name="Freeform 61">
              <a:extLst>
                <a:ext uri="{FF2B5EF4-FFF2-40B4-BE49-F238E27FC236}">
                  <a16:creationId xmlns:a16="http://schemas.microsoft.com/office/drawing/2014/main" id="{7FA77125-C998-254F-8ECE-9AAD0DF5CE0E}"/>
                </a:ext>
              </a:extLst>
            </p:cNvPr>
            <p:cNvSpPr>
              <a:spLocks/>
            </p:cNvSpPr>
            <p:nvPr/>
          </p:nvSpPr>
          <p:spPr bwMode="auto">
            <a:xfrm>
              <a:off x="1091086" y="3308593"/>
              <a:ext cx="867977" cy="505329"/>
            </a:xfrm>
            <a:custGeom>
              <a:avLst/>
              <a:gdLst>
                <a:gd name="T0" fmla="*/ 2921 w 3381"/>
                <a:gd name="T1" fmla="*/ 1970 h 1970"/>
                <a:gd name="T2" fmla="*/ 459 w 3381"/>
                <a:gd name="T3" fmla="*/ 1970 h 1970"/>
                <a:gd name="T4" fmla="*/ 0 w 3381"/>
                <a:gd name="T5" fmla="*/ 1511 h 1970"/>
                <a:gd name="T6" fmla="*/ 0 w 3381"/>
                <a:gd name="T7" fmla="*/ 459 h 1970"/>
                <a:gd name="T8" fmla="*/ 459 w 3381"/>
                <a:gd name="T9" fmla="*/ 0 h 1970"/>
                <a:gd name="T10" fmla="*/ 2921 w 3381"/>
                <a:gd name="T11" fmla="*/ 0 h 1970"/>
                <a:gd name="T12" fmla="*/ 3381 w 3381"/>
                <a:gd name="T13" fmla="*/ 459 h 1970"/>
                <a:gd name="T14" fmla="*/ 3381 w 3381"/>
                <a:gd name="T15" fmla="*/ 1511 h 1970"/>
                <a:gd name="T16" fmla="*/ 2921 w 3381"/>
                <a:gd name="T17" fmla="*/ 1970 h 19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81" h="1970">
                  <a:moveTo>
                    <a:pt x="2921" y="1970"/>
                  </a:moveTo>
                  <a:lnTo>
                    <a:pt x="459" y="1970"/>
                  </a:lnTo>
                  <a:cubicBezTo>
                    <a:pt x="206" y="1970"/>
                    <a:pt x="0" y="1763"/>
                    <a:pt x="0" y="1511"/>
                  </a:cubicBezTo>
                  <a:lnTo>
                    <a:pt x="0" y="459"/>
                  </a:lnTo>
                  <a:cubicBezTo>
                    <a:pt x="0" y="207"/>
                    <a:pt x="206" y="0"/>
                    <a:pt x="459" y="0"/>
                  </a:cubicBezTo>
                  <a:lnTo>
                    <a:pt x="2921" y="0"/>
                  </a:lnTo>
                  <a:cubicBezTo>
                    <a:pt x="3174" y="0"/>
                    <a:pt x="3381" y="207"/>
                    <a:pt x="3381" y="459"/>
                  </a:cubicBezTo>
                  <a:lnTo>
                    <a:pt x="3381" y="1511"/>
                  </a:lnTo>
                  <a:cubicBezTo>
                    <a:pt x="3381" y="1763"/>
                    <a:pt x="3174" y="1970"/>
                    <a:pt x="2921" y="1970"/>
                  </a:cubicBezTo>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48" name="Freeform 62">
              <a:extLst>
                <a:ext uri="{FF2B5EF4-FFF2-40B4-BE49-F238E27FC236}">
                  <a16:creationId xmlns:a16="http://schemas.microsoft.com/office/drawing/2014/main" id="{98A3A46C-51EA-284A-B016-A4F7CCC6BB45}"/>
                </a:ext>
              </a:extLst>
            </p:cNvPr>
            <p:cNvSpPr>
              <a:spLocks/>
            </p:cNvSpPr>
            <p:nvPr/>
          </p:nvSpPr>
          <p:spPr bwMode="auto">
            <a:xfrm>
              <a:off x="1641598" y="3553529"/>
              <a:ext cx="388806" cy="297252"/>
            </a:xfrm>
            <a:custGeom>
              <a:avLst/>
              <a:gdLst>
                <a:gd name="T0" fmla="*/ 1517 w 1517"/>
                <a:gd name="T1" fmla="*/ 1157 h 1157"/>
                <a:gd name="T2" fmla="*/ 797 w 1517"/>
                <a:gd name="T3" fmla="*/ 0 h 1157"/>
                <a:gd name="T4" fmla="*/ 0 w 1517"/>
                <a:gd name="T5" fmla="*/ 821 h 1157"/>
                <a:gd name="T6" fmla="*/ 1517 w 1517"/>
                <a:gd name="T7" fmla="*/ 1157 h 1157"/>
              </a:gdLst>
              <a:ahLst/>
              <a:cxnLst>
                <a:cxn ang="0">
                  <a:pos x="T0" y="T1"/>
                </a:cxn>
                <a:cxn ang="0">
                  <a:pos x="T2" y="T3"/>
                </a:cxn>
                <a:cxn ang="0">
                  <a:pos x="T4" y="T5"/>
                </a:cxn>
                <a:cxn ang="0">
                  <a:pos x="T6" y="T7"/>
                </a:cxn>
              </a:cxnLst>
              <a:rect l="0" t="0" r="r" b="b"/>
              <a:pathLst>
                <a:path w="1517" h="1157">
                  <a:moveTo>
                    <a:pt x="1517" y="1157"/>
                  </a:moveTo>
                  <a:lnTo>
                    <a:pt x="797" y="0"/>
                  </a:lnTo>
                  <a:lnTo>
                    <a:pt x="0" y="821"/>
                  </a:lnTo>
                  <a:lnTo>
                    <a:pt x="1517" y="1157"/>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49" name="Freeform 63">
              <a:extLst>
                <a:ext uri="{FF2B5EF4-FFF2-40B4-BE49-F238E27FC236}">
                  <a16:creationId xmlns:a16="http://schemas.microsoft.com/office/drawing/2014/main" id="{A348B98B-AA79-F746-95E5-D39E22C42022}"/>
                </a:ext>
              </a:extLst>
            </p:cNvPr>
            <p:cNvSpPr>
              <a:spLocks/>
            </p:cNvSpPr>
            <p:nvPr/>
          </p:nvSpPr>
          <p:spPr bwMode="auto">
            <a:xfrm>
              <a:off x="1382394" y="3416792"/>
              <a:ext cx="412587" cy="32104"/>
            </a:xfrm>
            <a:custGeom>
              <a:avLst/>
              <a:gdLst>
                <a:gd name="T0" fmla="*/ 64 w 1608"/>
                <a:gd name="T1" fmla="*/ 127 h 127"/>
                <a:gd name="T2" fmla="*/ 1545 w 1608"/>
                <a:gd name="T3" fmla="*/ 127 h 127"/>
                <a:gd name="T4" fmla="*/ 1608 w 1608"/>
                <a:gd name="T5" fmla="*/ 63 h 127"/>
                <a:gd name="T6" fmla="*/ 1608 w 1608"/>
                <a:gd name="T7" fmla="*/ 63 h 127"/>
                <a:gd name="T8" fmla="*/ 1545 w 1608"/>
                <a:gd name="T9" fmla="*/ 0 h 127"/>
                <a:gd name="T10" fmla="*/ 64 w 1608"/>
                <a:gd name="T11" fmla="*/ 0 h 127"/>
                <a:gd name="T12" fmla="*/ 0 w 1608"/>
                <a:gd name="T13" fmla="*/ 63 h 127"/>
                <a:gd name="T14" fmla="*/ 0 w 1608"/>
                <a:gd name="T15" fmla="*/ 63 h 127"/>
                <a:gd name="T16" fmla="*/ 64 w 160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8" h="127">
                  <a:moveTo>
                    <a:pt x="64" y="127"/>
                  </a:moveTo>
                  <a:lnTo>
                    <a:pt x="1545" y="127"/>
                  </a:lnTo>
                  <a:cubicBezTo>
                    <a:pt x="1580" y="127"/>
                    <a:pt x="1608" y="98"/>
                    <a:pt x="1608" y="63"/>
                  </a:cubicBezTo>
                  <a:lnTo>
                    <a:pt x="1608" y="63"/>
                  </a:lnTo>
                  <a:cubicBezTo>
                    <a:pt x="1608" y="29"/>
                    <a:pt x="1580" y="0"/>
                    <a:pt x="1545" y="0"/>
                  </a:cubicBezTo>
                  <a:lnTo>
                    <a:pt x="64" y="0"/>
                  </a:lnTo>
                  <a:cubicBezTo>
                    <a:pt x="29" y="0"/>
                    <a:pt x="0" y="29"/>
                    <a:pt x="0" y="63"/>
                  </a:cubicBezTo>
                  <a:lnTo>
                    <a:pt x="0" y="63"/>
                  </a:lnTo>
                  <a:cubicBezTo>
                    <a:pt x="0" y="98"/>
                    <a:pt x="29" y="127"/>
                    <a:pt x="64" y="127"/>
                  </a:cubicBezTo>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50" name="Freeform 64">
              <a:extLst>
                <a:ext uri="{FF2B5EF4-FFF2-40B4-BE49-F238E27FC236}">
                  <a16:creationId xmlns:a16="http://schemas.microsoft.com/office/drawing/2014/main" id="{438F5D35-B7CB-FE4F-BEB7-2A3F418EC31C}"/>
                </a:ext>
              </a:extLst>
            </p:cNvPr>
            <p:cNvSpPr>
              <a:spLocks/>
            </p:cNvSpPr>
            <p:nvPr/>
          </p:nvSpPr>
          <p:spPr bwMode="auto">
            <a:xfrm>
              <a:off x="1168372" y="3591577"/>
              <a:ext cx="626608" cy="32104"/>
            </a:xfrm>
            <a:custGeom>
              <a:avLst/>
              <a:gdLst>
                <a:gd name="T0" fmla="*/ 63 w 2443"/>
                <a:gd name="T1" fmla="*/ 126 h 126"/>
                <a:gd name="T2" fmla="*/ 2380 w 2443"/>
                <a:gd name="T3" fmla="*/ 126 h 126"/>
                <a:gd name="T4" fmla="*/ 2443 w 2443"/>
                <a:gd name="T5" fmla="*/ 63 h 126"/>
                <a:gd name="T6" fmla="*/ 2443 w 2443"/>
                <a:gd name="T7" fmla="*/ 63 h 126"/>
                <a:gd name="T8" fmla="*/ 2380 w 2443"/>
                <a:gd name="T9" fmla="*/ 0 h 126"/>
                <a:gd name="T10" fmla="*/ 63 w 2443"/>
                <a:gd name="T11" fmla="*/ 0 h 126"/>
                <a:gd name="T12" fmla="*/ 0 w 2443"/>
                <a:gd name="T13" fmla="*/ 63 h 126"/>
                <a:gd name="T14" fmla="*/ 0 w 2443"/>
                <a:gd name="T15" fmla="*/ 63 h 126"/>
                <a:gd name="T16" fmla="*/ 63 w 2443"/>
                <a:gd name="T17"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43" h="126">
                  <a:moveTo>
                    <a:pt x="63" y="126"/>
                  </a:moveTo>
                  <a:lnTo>
                    <a:pt x="2380" y="126"/>
                  </a:lnTo>
                  <a:cubicBezTo>
                    <a:pt x="2415" y="126"/>
                    <a:pt x="2443" y="98"/>
                    <a:pt x="2443" y="63"/>
                  </a:cubicBezTo>
                  <a:lnTo>
                    <a:pt x="2443" y="63"/>
                  </a:lnTo>
                  <a:cubicBezTo>
                    <a:pt x="2443" y="28"/>
                    <a:pt x="2415" y="0"/>
                    <a:pt x="2380" y="0"/>
                  </a:cubicBezTo>
                  <a:lnTo>
                    <a:pt x="63" y="0"/>
                  </a:lnTo>
                  <a:cubicBezTo>
                    <a:pt x="29" y="0"/>
                    <a:pt x="0" y="28"/>
                    <a:pt x="0" y="63"/>
                  </a:cubicBezTo>
                  <a:lnTo>
                    <a:pt x="0" y="63"/>
                  </a:lnTo>
                  <a:cubicBezTo>
                    <a:pt x="0" y="98"/>
                    <a:pt x="29" y="126"/>
                    <a:pt x="63" y="126"/>
                  </a:cubicBez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51" name="Rectangle 65">
              <a:extLst>
                <a:ext uri="{FF2B5EF4-FFF2-40B4-BE49-F238E27FC236}">
                  <a16:creationId xmlns:a16="http://schemas.microsoft.com/office/drawing/2014/main" id="{ED7B0723-5954-E547-98E8-68213BA0E732}"/>
                </a:ext>
              </a:extLst>
            </p:cNvPr>
            <p:cNvSpPr>
              <a:spLocks noChangeArrowheads="1"/>
            </p:cNvSpPr>
            <p:nvPr/>
          </p:nvSpPr>
          <p:spPr bwMode="auto">
            <a:xfrm>
              <a:off x="2569025" y="3471486"/>
              <a:ext cx="212833" cy="3091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52" name="Rectangle 66">
              <a:extLst>
                <a:ext uri="{FF2B5EF4-FFF2-40B4-BE49-F238E27FC236}">
                  <a16:creationId xmlns:a16="http://schemas.microsoft.com/office/drawing/2014/main" id="{ECEFC981-CB06-4C4E-A6F4-7966FB545E07}"/>
                </a:ext>
              </a:extLst>
            </p:cNvPr>
            <p:cNvSpPr>
              <a:spLocks noChangeArrowheads="1"/>
            </p:cNvSpPr>
            <p:nvPr/>
          </p:nvSpPr>
          <p:spPr bwMode="auto">
            <a:xfrm>
              <a:off x="1951929" y="3471486"/>
              <a:ext cx="212833" cy="3091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153" name="Rectangle 67">
              <a:extLst>
                <a:ext uri="{FF2B5EF4-FFF2-40B4-BE49-F238E27FC236}">
                  <a16:creationId xmlns:a16="http://schemas.microsoft.com/office/drawing/2014/main" id="{8657B73E-21EB-2045-8075-569694C31CE3}"/>
                </a:ext>
              </a:extLst>
            </p:cNvPr>
            <p:cNvSpPr>
              <a:spLocks noChangeArrowheads="1"/>
            </p:cNvSpPr>
            <p:nvPr/>
          </p:nvSpPr>
          <p:spPr bwMode="auto">
            <a:xfrm>
              <a:off x="2690304" y="3538071"/>
              <a:ext cx="91554" cy="3091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grpSp>
    </p:spTree>
    <p:extLst>
      <p:ext uri="{BB962C8B-B14F-4D97-AF65-F5344CB8AC3E}">
        <p14:creationId xmlns:p14="http://schemas.microsoft.com/office/powerpoint/2010/main" val="15796877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Marcador de posición de imagen 24">
            <a:extLst>
              <a:ext uri="{FF2B5EF4-FFF2-40B4-BE49-F238E27FC236}">
                <a16:creationId xmlns:a16="http://schemas.microsoft.com/office/drawing/2014/main" id="{38EB7709-ED6A-FB4F-A4FD-82348E993450}"/>
              </a:ext>
            </a:extLst>
          </p:cNvPr>
          <p:cNvPicPr>
            <a:picLocks noGrp="1" noChangeAspect="1"/>
          </p:cNvPicPr>
          <p:nvPr>
            <p:ph type="pic" sz="quarter" idx="11"/>
          </p:nvPr>
        </p:nvPicPr>
        <p:blipFill rotWithShape="1">
          <a:blip r:embed="rId2" cstate="hqprint">
            <a:extLst>
              <a:ext uri="{28A0092B-C50C-407E-A947-70E740481C1C}">
                <a14:useLocalDpi xmlns:a14="http://schemas.microsoft.com/office/drawing/2010/main"/>
              </a:ext>
            </a:extLst>
          </a:blip>
          <a:srcRect l="15865" r="15865"/>
          <a:stretch/>
        </p:blipFill>
        <p:spPr>
          <a:prstGeom prst="rect">
            <a:avLst/>
          </a:prstGeom>
          <a:ln>
            <a:noFill/>
          </a:ln>
          <a:effectLst/>
        </p:spPr>
      </p:pic>
      <p:sp>
        <p:nvSpPr>
          <p:cNvPr id="105" name="Title 1">
            <a:extLst>
              <a:ext uri="{FF2B5EF4-FFF2-40B4-BE49-F238E27FC236}">
                <a16:creationId xmlns:a16="http://schemas.microsoft.com/office/drawing/2014/main" id="{C29BCF16-F13D-A34C-9ED2-DD8F24441065}"/>
              </a:ext>
            </a:extLst>
          </p:cNvPr>
          <p:cNvSpPr txBox="1">
            <a:spLocks/>
          </p:cNvSpPr>
          <p:nvPr/>
        </p:nvSpPr>
        <p:spPr>
          <a:xfrm>
            <a:off x="5214554" y="1508018"/>
            <a:ext cx="3633392" cy="937663"/>
          </a:xfrm>
          <a:prstGeom prst="rect">
            <a:avLst/>
          </a:prstGeom>
        </p:spPr>
        <p:txBody>
          <a:bodyPr vert="horz" lIns="0" tIns="0" rIns="0" bIns="0" rtlCol="0" anchor="t">
            <a:normAutofit lnSpcReduction="10000"/>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ES_tradnl" sz="1800" b="1" i="0" u="none" strike="noStrike" kern="1200" cap="none" spc="0" normalizeH="0" baseline="0">
                <a:ln>
                  <a:noFill/>
                </a:ln>
                <a:solidFill>
                  <a:srgbClr val="2B0A3D"/>
                </a:solidFill>
                <a:effectLst/>
                <a:uLnTx/>
                <a:uFillTx/>
                <a:latin typeface="Ubuntu" panose="020B0504030602030204" pitchFamily="34" charset="0"/>
                <a:ea typeface="+mj-ea"/>
                <a:cs typeface="+mj-cs"/>
              </a:rPr>
              <a:t>Pruebas exhaustivas de navegación, elementos clickables y ficheros descargables</a:t>
            </a:r>
          </a:p>
        </p:txBody>
      </p:sp>
      <p:pic>
        <p:nvPicPr>
          <p:cNvPr id="106" name="Picture 102957">
            <a:extLst>
              <a:ext uri="{FF2B5EF4-FFF2-40B4-BE49-F238E27FC236}">
                <a16:creationId xmlns:a16="http://schemas.microsoft.com/office/drawing/2014/main" id="{D11F1EFA-806C-874C-9927-ADD643ACBE1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3601824" y="1107256"/>
            <a:ext cx="1868076" cy="1560154"/>
          </a:xfrm>
          <a:prstGeom prst="rect">
            <a:avLst/>
          </a:prstGeom>
        </p:spPr>
      </p:pic>
      <p:sp>
        <p:nvSpPr>
          <p:cNvPr id="110" name="Title 1">
            <a:extLst>
              <a:ext uri="{FF2B5EF4-FFF2-40B4-BE49-F238E27FC236}">
                <a16:creationId xmlns:a16="http://schemas.microsoft.com/office/drawing/2014/main" id="{FA0F6FD1-0ADF-D446-9B77-8460A9C6E81C}"/>
              </a:ext>
            </a:extLst>
          </p:cNvPr>
          <p:cNvSpPr txBox="1">
            <a:spLocks/>
          </p:cNvSpPr>
          <p:nvPr/>
        </p:nvSpPr>
        <p:spPr>
          <a:xfrm>
            <a:off x="5885864" y="2512284"/>
            <a:ext cx="2861459" cy="1502618"/>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lvl="0"/>
            <a:r>
              <a:rPr lang="es-ES_tradnl" sz="1100" dirty="0">
                <a:solidFill>
                  <a:srgbClr val="2B0A3D"/>
                </a:solidFill>
                <a:latin typeface="Ubuntu"/>
              </a:rPr>
              <a:t>Links </a:t>
            </a:r>
            <a:r>
              <a:rPr lang="es-ES_tradnl" sz="1100" dirty="0" err="1">
                <a:solidFill>
                  <a:srgbClr val="2B0A3D"/>
                </a:solidFill>
                <a:latin typeface="Ubuntu"/>
              </a:rPr>
              <a:t>Checker</a:t>
            </a:r>
            <a:r>
              <a:rPr lang="es-ES_tradnl" sz="1100" dirty="0">
                <a:solidFill>
                  <a:srgbClr val="2B0A3D"/>
                </a:solidFill>
                <a:latin typeface="Ubuntu"/>
              </a:rPr>
              <a:t> Spider ejecuta pruebas automáticas (sin necesidad de diseño previo) haciendo </a:t>
            </a:r>
            <a:r>
              <a:rPr lang="es-ES_tradnl" sz="1100" dirty="0" err="1">
                <a:solidFill>
                  <a:srgbClr val="2B0A3D"/>
                </a:solidFill>
                <a:latin typeface="Ubuntu"/>
              </a:rPr>
              <a:t>click</a:t>
            </a:r>
            <a:r>
              <a:rPr lang="es-ES_tradnl" sz="1100" dirty="0">
                <a:solidFill>
                  <a:srgbClr val="2B0A3D"/>
                </a:solidFill>
                <a:latin typeface="Ubuntu"/>
              </a:rPr>
              <a:t> en todas las navegaciones y elementos de las diversas páginas de un portal web y reporta automáticamente los defectos encontrados. </a:t>
            </a:r>
            <a:endParaRPr kumimoji="0" lang="es-ES_tradnl" sz="1100" b="0" i="0" u="none" strike="noStrike" kern="1200" cap="none" spc="0" normalizeH="0" baseline="0" dirty="0">
              <a:ln>
                <a:noFill/>
              </a:ln>
              <a:solidFill>
                <a:srgbClr val="2B0A3D"/>
              </a:solidFill>
              <a:effectLst/>
              <a:uLnTx/>
              <a:uFillTx/>
              <a:latin typeface="Ubuntu"/>
              <a:ea typeface="+mj-ea"/>
              <a:cs typeface="+mj-cs"/>
            </a:endParaRPr>
          </a:p>
        </p:txBody>
      </p:sp>
      <p:sp>
        <p:nvSpPr>
          <p:cNvPr id="134" name="Title 1">
            <a:extLst>
              <a:ext uri="{FF2B5EF4-FFF2-40B4-BE49-F238E27FC236}">
                <a16:creationId xmlns:a16="http://schemas.microsoft.com/office/drawing/2014/main" id="{C8B1C3C0-2E22-3047-9432-F7C45CCF111E}"/>
              </a:ext>
            </a:extLst>
          </p:cNvPr>
          <p:cNvSpPr txBox="1">
            <a:spLocks/>
          </p:cNvSpPr>
          <p:nvPr/>
        </p:nvSpPr>
        <p:spPr>
          <a:xfrm>
            <a:off x="442428" y="2109840"/>
            <a:ext cx="2977720" cy="944253"/>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L="171450" marR="0" lvl="0" indent="-171450" algn="l" defTabSz="914400" rtl="0" eaLnBrk="1" fontAlgn="auto" latinLnBrk="0" hangingPunct="1">
              <a:lnSpc>
                <a:spcPct val="100000"/>
              </a:lnSpc>
              <a:spcBef>
                <a:spcPct val="0"/>
              </a:spcBef>
              <a:spcAft>
                <a:spcPts val="0"/>
              </a:spcAft>
              <a:buClrTx/>
              <a:buSzTx/>
              <a:buFont typeface="Wingdings" pitchFamily="2" charset="2"/>
              <a:buChar char="§"/>
              <a:tabLst/>
              <a:defRPr/>
            </a:pPr>
            <a:endParaRPr kumimoji="0" lang="en-US" sz="1200" b="0" i="0" u="none" strike="noStrike" kern="1200" cap="none" spc="0" normalizeH="0" baseline="0" noProof="0">
              <a:ln>
                <a:noFill/>
              </a:ln>
              <a:solidFill>
                <a:srgbClr val="FFFFFF"/>
              </a:solidFill>
              <a:effectLst/>
              <a:uLnTx/>
              <a:uFillTx/>
              <a:latin typeface="Ubuntu Light" panose="020B0304030602030204" pitchFamily="34" charset="0"/>
              <a:ea typeface="+mj-ea"/>
              <a:cs typeface="+mj-cs"/>
            </a:endParaRPr>
          </a:p>
        </p:txBody>
      </p:sp>
      <p:sp>
        <p:nvSpPr>
          <p:cNvPr id="135" name="Title 1">
            <a:extLst>
              <a:ext uri="{FF2B5EF4-FFF2-40B4-BE49-F238E27FC236}">
                <a16:creationId xmlns:a16="http://schemas.microsoft.com/office/drawing/2014/main" id="{607DF644-DB64-CC44-97D6-69D5A0F708B6}"/>
              </a:ext>
            </a:extLst>
          </p:cNvPr>
          <p:cNvSpPr txBox="1">
            <a:spLocks/>
          </p:cNvSpPr>
          <p:nvPr/>
        </p:nvSpPr>
        <p:spPr>
          <a:xfrm>
            <a:off x="454694" y="2981209"/>
            <a:ext cx="2989985" cy="944253"/>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L="171450" marR="0" lvl="0" indent="-171450" algn="l" defTabSz="914400" rtl="0" eaLnBrk="1" fontAlgn="auto" latinLnBrk="0" hangingPunct="1">
              <a:lnSpc>
                <a:spcPct val="100000"/>
              </a:lnSpc>
              <a:spcBef>
                <a:spcPct val="0"/>
              </a:spcBef>
              <a:spcAft>
                <a:spcPts val="0"/>
              </a:spcAft>
              <a:buClrTx/>
              <a:buSzTx/>
              <a:buFont typeface="Wingdings" pitchFamily="2" charset="2"/>
              <a:buChar char="§"/>
              <a:tabLst/>
              <a:defRPr/>
            </a:pPr>
            <a:endParaRPr kumimoji="0" lang="en-US" sz="1200" b="0" i="0" u="none" strike="noStrike" kern="1200" cap="none" spc="0" normalizeH="0" baseline="0" noProof="0">
              <a:ln>
                <a:noFill/>
              </a:ln>
              <a:solidFill>
                <a:srgbClr val="FFFFFF"/>
              </a:solidFill>
              <a:effectLst/>
              <a:uLnTx/>
              <a:uFillTx/>
              <a:latin typeface="Ubuntu Light" panose="020B0304030602030204" pitchFamily="34" charset="0"/>
              <a:ea typeface="+mj-ea"/>
              <a:cs typeface="+mj-cs"/>
            </a:endParaRPr>
          </a:p>
        </p:txBody>
      </p:sp>
      <p:sp>
        <p:nvSpPr>
          <p:cNvPr id="136" name="Title 1">
            <a:extLst>
              <a:ext uri="{FF2B5EF4-FFF2-40B4-BE49-F238E27FC236}">
                <a16:creationId xmlns:a16="http://schemas.microsoft.com/office/drawing/2014/main" id="{DB826FFD-A232-904E-9873-C7C004F36047}"/>
              </a:ext>
            </a:extLst>
          </p:cNvPr>
          <p:cNvSpPr txBox="1">
            <a:spLocks/>
          </p:cNvSpPr>
          <p:nvPr/>
        </p:nvSpPr>
        <p:spPr>
          <a:xfrm>
            <a:off x="696021" y="3901765"/>
            <a:ext cx="3973677" cy="2413336"/>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R="0" lvl="0" algn="l" defTabSz="914400" rtl="0" eaLnBrk="1" fontAlgn="auto" latinLnBrk="0" hangingPunct="1">
              <a:lnSpc>
                <a:spcPct val="100000"/>
              </a:lnSpc>
              <a:spcBef>
                <a:spcPct val="0"/>
              </a:spcBef>
              <a:spcAft>
                <a:spcPts val="0"/>
              </a:spcAft>
              <a:buClrTx/>
              <a:buSzTx/>
              <a:tabLst/>
              <a:defRPr/>
            </a:pPr>
            <a:r>
              <a:rPr kumimoji="0" lang="es-ES_tradnl" sz="1600" i="0" u="none" strike="noStrike" kern="1200" cap="none" spc="0" normalizeH="0" baseline="0" dirty="0">
                <a:ln>
                  <a:noFill/>
                </a:ln>
                <a:solidFill>
                  <a:srgbClr val="2B0A3D"/>
                </a:solidFill>
                <a:effectLst/>
                <a:uLnTx/>
                <a:uFillTx/>
                <a:latin typeface="Ubuntu"/>
                <a:ea typeface="+mj-ea"/>
                <a:cs typeface="+mj-cs"/>
              </a:rPr>
              <a:t>Utilización</a:t>
            </a:r>
            <a:r>
              <a:rPr kumimoji="0" lang="es-ES_tradnl" sz="1600" b="1" i="0" u="none" strike="noStrike" kern="1200" cap="none" spc="0" normalizeH="0" baseline="0" dirty="0">
                <a:ln>
                  <a:noFill/>
                </a:ln>
                <a:solidFill>
                  <a:srgbClr val="2B0A3D"/>
                </a:solidFill>
                <a:effectLst/>
                <a:uLnTx/>
                <a:uFillTx/>
                <a:latin typeface="Ubuntu"/>
                <a:ea typeface="+mj-ea"/>
                <a:cs typeface="+mj-cs"/>
              </a:rPr>
              <a:t> </a:t>
            </a:r>
            <a:r>
              <a:rPr kumimoji="0" lang="es-ES_tradnl" sz="1600" i="0" u="none" strike="noStrike" kern="1200" cap="none" spc="0" normalizeH="0" baseline="0" dirty="0">
                <a:ln>
                  <a:noFill/>
                </a:ln>
                <a:solidFill>
                  <a:srgbClr val="2B0A3D"/>
                </a:solidFill>
                <a:effectLst/>
                <a:uLnTx/>
                <a:uFillTx/>
                <a:latin typeface="Ubuntu"/>
                <a:ea typeface="+mj-ea"/>
                <a:cs typeface="+mj-cs"/>
              </a:rPr>
              <a:t>de un </a:t>
            </a:r>
            <a:r>
              <a:rPr kumimoji="0" lang="es-ES_tradnl" sz="1600" b="1" i="0" u="none" strike="noStrike" kern="1200" cap="none" spc="0" normalizeH="0" baseline="0" dirty="0">
                <a:ln>
                  <a:noFill/>
                </a:ln>
                <a:solidFill>
                  <a:srgbClr val="2B0A3D"/>
                </a:solidFill>
                <a:effectLst/>
                <a:uLnTx/>
                <a:uFillTx/>
                <a:latin typeface="Ubuntu"/>
                <a:ea typeface="+mj-ea"/>
                <a:cs typeface="+mj-cs"/>
              </a:rPr>
              <a:t>servicio automatizado de araña desarrollado por </a:t>
            </a:r>
            <a:r>
              <a:rPr kumimoji="0" lang="es-ES_tradnl" sz="1600" b="1" i="0" u="none" strike="noStrike" kern="1200" cap="none" spc="0" normalizeH="0" baseline="0" dirty="0" err="1">
                <a:ln>
                  <a:noFill/>
                </a:ln>
                <a:solidFill>
                  <a:srgbClr val="2B0A3D"/>
                </a:solidFill>
                <a:effectLst/>
                <a:uLnTx/>
                <a:uFillTx/>
                <a:latin typeface="Ubuntu"/>
                <a:ea typeface="+mj-ea"/>
                <a:cs typeface="+mj-cs"/>
              </a:rPr>
              <a:t>SogetiLabs</a:t>
            </a:r>
            <a:r>
              <a:rPr kumimoji="0" lang="es-ES_tradnl" sz="1600" b="1" i="0" u="none" strike="noStrike" kern="1200" cap="none" spc="0" normalizeH="0" baseline="0" dirty="0">
                <a:ln>
                  <a:noFill/>
                </a:ln>
                <a:solidFill>
                  <a:srgbClr val="2B0A3D"/>
                </a:solidFill>
                <a:effectLst/>
                <a:uLnTx/>
                <a:uFillTx/>
                <a:latin typeface="Ubuntu"/>
                <a:ea typeface="+mj-ea"/>
                <a:cs typeface="+mj-cs"/>
              </a:rPr>
              <a:t> </a:t>
            </a:r>
            <a:r>
              <a:rPr kumimoji="0" lang="es-ES_tradnl" sz="1600" i="0" u="none" strike="noStrike" kern="1200" cap="none" spc="0" normalizeH="0" baseline="0" dirty="0">
                <a:ln>
                  <a:noFill/>
                </a:ln>
                <a:solidFill>
                  <a:srgbClr val="2B0A3D"/>
                </a:solidFill>
                <a:effectLst/>
                <a:uLnTx/>
                <a:uFillTx/>
                <a:latin typeface="Ubuntu"/>
                <a:ea typeface="+mj-ea"/>
                <a:cs typeface="+mj-cs"/>
              </a:rPr>
              <a:t>que, a partir de una configuración sencilla (URL raíz y niveles de profundidad del análisis) </a:t>
            </a:r>
            <a:r>
              <a:rPr kumimoji="0" lang="es-ES_tradnl" sz="1600" b="1" i="0" u="none" strike="noStrike" kern="1200" cap="none" spc="0" normalizeH="0" baseline="0" dirty="0">
                <a:ln>
                  <a:noFill/>
                </a:ln>
                <a:solidFill>
                  <a:srgbClr val="2B0A3D"/>
                </a:solidFill>
                <a:effectLst/>
                <a:uLnTx/>
                <a:uFillTx/>
                <a:latin typeface="Ubuntu"/>
                <a:ea typeface="+mj-ea"/>
                <a:cs typeface="+mj-cs"/>
              </a:rPr>
              <a:t>realiza un análisis exhaustivo de la validez de navegaciones, enlaces y ficheros descargables de un portal web.</a:t>
            </a:r>
          </a:p>
          <a:p>
            <a:pPr marR="0" lvl="0" algn="l" defTabSz="914400" rtl="0" eaLnBrk="1" fontAlgn="auto" latinLnBrk="0" hangingPunct="1">
              <a:lnSpc>
                <a:spcPct val="100000"/>
              </a:lnSpc>
              <a:spcBef>
                <a:spcPct val="0"/>
              </a:spcBef>
              <a:spcAft>
                <a:spcPts val="0"/>
              </a:spcAft>
              <a:buClrTx/>
              <a:buSzTx/>
              <a:tabLst/>
              <a:defRPr/>
            </a:pPr>
            <a:endParaRPr lang="es-ES_tradnl" sz="1200" b="1" dirty="0">
              <a:solidFill>
                <a:srgbClr val="2B0A3D"/>
              </a:solidFill>
              <a:latin typeface="Ubuntu"/>
            </a:endParaRPr>
          </a:p>
          <a:p>
            <a:pPr marL="171450" marR="0" lvl="0" indent="-171450" algn="l" defTabSz="914400" rtl="0" eaLnBrk="1" fontAlgn="auto" latinLnBrk="0" hangingPunct="1">
              <a:lnSpc>
                <a:spcPct val="100000"/>
              </a:lnSpc>
              <a:spcBef>
                <a:spcPct val="0"/>
              </a:spcBef>
              <a:spcAft>
                <a:spcPts val="0"/>
              </a:spcAft>
              <a:buClrTx/>
              <a:buSzTx/>
              <a:buFont typeface="Wingdings" pitchFamily="2" charset="2"/>
              <a:buChar char="§"/>
              <a:tabLst/>
              <a:defRPr/>
            </a:pPr>
            <a:endParaRPr kumimoji="0" lang="ca-ES" sz="1000" b="0" i="0" u="none" strike="noStrike" kern="1200" cap="none" spc="0" normalizeH="0" baseline="0" dirty="0">
              <a:ln>
                <a:noFill/>
              </a:ln>
              <a:solidFill>
                <a:srgbClr val="2B0A3D"/>
              </a:solidFill>
              <a:effectLst/>
              <a:uLnTx/>
              <a:uFillTx/>
              <a:latin typeface="Ubuntu Light" panose="020B0304030602030204" pitchFamily="34" charset="0"/>
              <a:ea typeface="+mj-ea"/>
              <a:cs typeface="+mj-cs"/>
            </a:endParaRPr>
          </a:p>
          <a:p>
            <a:pPr marL="171450" marR="0" lvl="0" indent="-171450" algn="l" defTabSz="914400" rtl="0" eaLnBrk="1" fontAlgn="auto" latinLnBrk="0" hangingPunct="1">
              <a:lnSpc>
                <a:spcPct val="100000"/>
              </a:lnSpc>
              <a:spcBef>
                <a:spcPct val="0"/>
              </a:spcBef>
              <a:spcAft>
                <a:spcPts val="0"/>
              </a:spcAft>
              <a:buClrTx/>
              <a:buSzTx/>
              <a:buFont typeface="Wingdings" pitchFamily="2" charset="2"/>
              <a:buChar char="§"/>
              <a:tabLst/>
              <a:defRPr/>
            </a:pPr>
            <a:endParaRPr kumimoji="0" lang="ca-ES" sz="1000" b="0" i="0" u="none" strike="noStrike" kern="1200" cap="none" spc="0" normalizeH="0" baseline="0" dirty="0">
              <a:ln>
                <a:noFill/>
              </a:ln>
              <a:solidFill>
                <a:srgbClr val="2B0A3D"/>
              </a:solidFill>
              <a:effectLst/>
              <a:uLnTx/>
              <a:uFillTx/>
              <a:latin typeface="Ubuntu Light" panose="020B0304030602030204" pitchFamily="34" charset="0"/>
              <a:ea typeface="+mj-ea"/>
              <a:cs typeface="+mj-cs"/>
            </a:endParaRPr>
          </a:p>
        </p:txBody>
      </p:sp>
      <p:sp>
        <p:nvSpPr>
          <p:cNvPr id="137" name="Title 1">
            <a:extLst>
              <a:ext uri="{FF2B5EF4-FFF2-40B4-BE49-F238E27FC236}">
                <a16:creationId xmlns:a16="http://schemas.microsoft.com/office/drawing/2014/main" id="{10EBAEB8-B6E4-AB44-858C-1602EAC40F46}"/>
              </a:ext>
            </a:extLst>
          </p:cNvPr>
          <p:cNvSpPr txBox="1">
            <a:spLocks/>
          </p:cNvSpPr>
          <p:nvPr/>
        </p:nvSpPr>
        <p:spPr>
          <a:xfrm>
            <a:off x="469857" y="5778920"/>
            <a:ext cx="2977720" cy="944253"/>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L="171450" marR="0" lvl="0" indent="-171450" algn="l" defTabSz="914400" rtl="0" eaLnBrk="1" fontAlgn="auto" latinLnBrk="0" hangingPunct="1">
              <a:lnSpc>
                <a:spcPct val="100000"/>
              </a:lnSpc>
              <a:spcBef>
                <a:spcPct val="0"/>
              </a:spcBef>
              <a:spcAft>
                <a:spcPts val="0"/>
              </a:spcAft>
              <a:buClrTx/>
              <a:buSzTx/>
              <a:buFont typeface="Wingdings" pitchFamily="2" charset="2"/>
              <a:buChar char="§"/>
              <a:tabLst/>
              <a:defRPr/>
            </a:pPr>
            <a:endParaRPr kumimoji="0" lang="en-US" sz="1200" b="0" i="0" u="none" strike="noStrike" kern="1200" cap="none" spc="0" normalizeH="0" baseline="0" noProof="0">
              <a:ln>
                <a:noFill/>
              </a:ln>
              <a:solidFill>
                <a:srgbClr val="FFFFFF"/>
              </a:solidFill>
              <a:effectLst/>
              <a:uLnTx/>
              <a:uFillTx/>
              <a:latin typeface="Ubuntu Light" panose="020B0304030602030204" pitchFamily="34" charset="0"/>
              <a:ea typeface="+mj-ea"/>
              <a:cs typeface="+mj-cs"/>
            </a:endParaRPr>
          </a:p>
        </p:txBody>
      </p:sp>
      <p:pic>
        <p:nvPicPr>
          <p:cNvPr id="143" name="Picture 11">
            <a:extLst>
              <a:ext uri="{FF2B5EF4-FFF2-40B4-BE49-F238E27FC236}">
                <a16:creationId xmlns:a16="http://schemas.microsoft.com/office/drawing/2014/main" id="{DF9C26DD-2DEA-074B-AB08-9058DCD5DF9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11909" y="3716293"/>
            <a:ext cx="1507764" cy="1502618"/>
          </a:xfrm>
          <a:prstGeom prst="rect">
            <a:avLst/>
          </a:prstGeom>
        </p:spPr>
      </p:pic>
      <p:sp>
        <p:nvSpPr>
          <p:cNvPr id="144" name="Title 1">
            <a:extLst>
              <a:ext uri="{FF2B5EF4-FFF2-40B4-BE49-F238E27FC236}">
                <a16:creationId xmlns:a16="http://schemas.microsoft.com/office/drawing/2014/main" id="{516CF9F9-F2DB-0D4E-9B74-84FD24C3C64F}"/>
              </a:ext>
            </a:extLst>
          </p:cNvPr>
          <p:cNvSpPr txBox="1">
            <a:spLocks/>
          </p:cNvSpPr>
          <p:nvPr/>
        </p:nvSpPr>
        <p:spPr>
          <a:xfrm>
            <a:off x="6111241" y="4059426"/>
            <a:ext cx="2410704" cy="479107"/>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ES_tradnl" sz="1800" b="1" i="0" u="none" strike="noStrike" kern="1200" cap="none" spc="0" normalizeH="0" baseline="0" noProof="0">
                <a:ln>
                  <a:noFill/>
                </a:ln>
                <a:solidFill>
                  <a:srgbClr val="2B0A3D"/>
                </a:solidFill>
                <a:effectLst/>
                <a:uLnTx/>
                <a:uFillTx/>
                <a:latin typeface="Ubuntu" panose="020B0504030602030204" pitchFamily="34" charset="0"/>
                <a:ea typeface="+mj-ea"/>
                <a:cs typeface="+mj-cs"/>
              </a:rPr>
              <a:t>Cobertura exhaustiva y completamente automatizado</a:t>
            </a:r>
            <a:endParaRPr kumimoji="0" lang="es-ES_tradnl" sz="1800" b="1" i="0" u="none" strike="noStrike" kern="1200" cap="none" spc="0" normalizeH="0" baseline="0" noProof="0" dirty="0">
              <a:ln>
                <a:noFill/>
              </a:ln>
              <a:solidFill>
                <a:srgbClr val="2B0A3D"/>
              </a:solidFill>
              <a:effectLst/>
              <a:uLnTx/>
              <a:uFillTx/>
              <a:latin typeface="Ubuntu" panose="020B0504030602030204" pitchFamily="34" charset="0"/>
              <a:ea typeface="+mj-ea"/>
              <a:cs typeface="+mj-cs"/>
            </a:endParaRPr>
          </a:p>
        </p:txBody>
      </p:sp>
      <p:sp>
        <p:nvSpPr>
          <p:cNvPr id="145" name="Title 1">
            <a:extLst>
              <a:ext uri="{FF2B5EF4-FFF2-40B4-BE49-F238E27FC236}">
                <a16:creationId xmlns:a16="http://schemas.microsoft.com/office/drawing/2014/main" id="{68AEEF12-7D99-2E49-8E78-657233DC2A58}"/>
              </a:ext>
            </a:extLst>
          </p:cNvPr>
          <p:cNvSpPr txBox="1">
            <a:spLocks/>
          </p:cNvSpPr>
          <p:nvPr/>
        </p:nvSpPr>
        <p:spPr>
          <a:xfrm>
            <a:off x="6119542" y="5063785"/>
            <a:ext cx="2526282" cy="1575483"/>
          </a:xfrm>
          <a:prstGeom prst="rect">
            <a:avLst/>
          </a:prstGeom>
        </p:spPr>
        <p:txBody>
          <a:bodyPr vert="horz" lIns="0" tIns="0" rIns="0" bIns="0" rtlCol="0" anchor="t">
            <a:normAutofit/>
          </a:bodyPr>
          <a:lstStyle>
            <a:defPPr>
              <a:defRPr lang="en-US"/>
            </a:defPPr>
            <a:lvl1pPr>
              <a:lnSpc>
                <a:spcPct val="90000"/>
              </a:lnSpc>
              <a:spcBef>
                <a:spcPct val="0"/>
              </a:spcBef>
              <a:buNone/>
              <a:defRPr sz="11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ES_tradnl" sz="1100" b="0" i="0" u="none" strike="noStrike" kern="1200" cap="none" spc="0" normalizeH="0" baseline="0" noProof="0" dirty="0">
                <a:ln>
                  <a:noFill/>
                </a:ln>
                <a:solidFill>
                  <a:srgbClr val="2B0A3D"/>
                </a:solidFill>
                <a:effectLst/>
                <a:uLnTx/>
                <a:uFillTx/>
                <a:latin typeface="Ubuntu"/>
                <a:ea typeface="+mj-ea"/>
                <a:cs typeface="+mj-cs"/>
              </a:rPr>
              <a:t>A través de un algoritmo</a:t>
            </a:r>
            <a:r>
              <a:rPr lang="es-ES_tradnl" dirty="0">
                <a:solidFill>
                  <a:srgbClr val="2B0A3D"/>
                </a:solidFill>
                <a:latin typeface="Ubuntu"/>
              </a:rPr>
              <a:t> basado en Inteligencia Artificial, Links </a:t>
            </a:r>
            <a:r>
              <a:rPr lang="es-ES_tradnl" dirty="0" err="1">
                <a:solidFill>
                  <a:srgbClr val="2B0A3D"/>
                </a:solidFill>
                <a:latin typeface="Ubuntu"/>
              </a:rPr>
              <a:t>Checker</a:t>
            </a:r>
            <a:r>
              <a:rPr lang="es-ES_tradnl" dirty="0">
                <a:solidFill>
                  <a:srgbClr val="2B0A3D"/>
                </a:solidFill>
                <a:latin typeface="Ubuntu"/>
              </a:rPr>
              <a:t> Spider garantiza una cobertura exhaustiva de este tipo de pruebas sistemáticas, de manera rápida, eficiente y sin intervención manual.</a:t>
            </a:r>
            <a:endParaRPr kumimoji="0" lang="es-ES_tradnl" sz="1100" b="0" i="0" u="none" strike="noStrike" kern="1200" cap="none" spc="0" normalizeH="0" baseline="0" noProof="0" dirty="0">
              <a:ln>
                <a:noFill/>
              </a:ln>
              <a:solidFill>
                <a:srgbClr val="2B0A3D"/>
              </a:solidFill>
              <a:effectLst/>
              <a:uLnTx/>
              <a:uFillTx/>
              <a:latin typeface="Ubuntu"/>
              <a:ea typeface="+mj-ea"/>
              <a:cs typeface="+mj-cs"/>
            </a:endParaRPr>
          </a:p>
        </p:txBody>
      </p:sp>
      <p:sp>
        <p:nvSpPr>
          <p:cNvPr id="7" name="Marcador de texto 6">
            <a:extLst>
              <a:ext uri="{FF2B5EF4-FFF2-40B4-BE49-F238E27FC236}">
                <a16:creationId xmlns:a16="http://schemas.microsoft.com/office/drawing/2014/main" id="{26238EA9-9938-4874-9475-616A87024164}"/>
              </a:ext>
            </a:extLst>
          </p:cNvPr>
          <p:cNvSpPr>
            <a:spLocks noGrp="1"/>
          </p:cNvSpPr>
          <p:nvPr>
            <p:ph type="body" sz="quarter" idx="10"/>
          </p:nvPr>
        </p:nvSpPr>
        <p:spPr>
          <a:xfrm>
            <a:off x="10161477" y="4875785"/>
            <a:ext cx="1560666" cy="1806269"/>
          </a:xfrm>
        </p:spPr>
        <p:txBody>
          <a:bodyPr/>
          <a:lstStyle/>
          <a:p>
            <a:r>
              <a:rPr lang="en-US" dirty="0" err="1"/>
              <a:t>Aplicable</a:t>
            </a:r>
            <a:r>
              <a:rPr lang="en-US" dirty="0"/>
              <a:t> a </a:t>
            </a:r>
            <a:r>
              <a:rPr lang="en-US" dirty="0" err="1"/>
              <a:t>portales</a:t>
            </a:r>
            <a:r>
              <a:rPr lang="en-US" dirty="0"/>
              <a:t> web con </a:t>
            </a:r>
            <a:r>
              <a:rPr lang="en-US" dirty="0" err="1"/>
              <a:t>navegaciones</a:t>
            </a:r>
            <a:r>
              <a:rPr lang="en-US" dirty="0"/>
              <a:t>, </a:t>
            </a:r>
            <a:r>
              <a:rPr lang="en-US" dirty="0" err="1"/>
              <a:t>ficheros</a:t>
            </a:r>
            <a:r>
              <a:rPr lang="en-US" dirty="0"/>
              <a:t> </a:t>
            </a:r>
            <a:r>
              <a:rPr lang="en-US" dirty="0" err="1"/>
              <a:t>descagables</a:t>
            </a:r>
            <a:r>
              <a:rPr lang="en-US" dirty="0"/>
              <a:t>, etc. </a:t>
            </a:r>
            <a:endParaRPr lang="en-GB" dirty="0"/>
          </a:p>
        </p:txBody>
      </p:sp>
      <p:sp>
        <p:nvSpPr>
          <p:cNvPr id="6" name="Título 5">
            <a:extLst>
              <a:ext uri="{FF2B5EF4-FFF2-40B4-BE49-F238E27FC236}">
                <a16:creationId xmlns:a16="http://schemas.microsoft.com/office/drawing/2014/main" id="{3F4FFB4B-8809-40C8-B566-1F95C4345C87}"/>
              </a:ext>
            </a:extLst>
          </p:cNvPr>
          <p:cNvSpPr>
            <a:spLocks noGrp="1"/>
          </p:cNvSpPr>
          <p:nvPr>
            <p:ph type="title"/>
          </p:nvPr>
        </p:nvSpPr>
        <p:spPr/>
        <p:txBody>
          <a:bodyPr/>
          <a:lstStyle/>
          <a:p>
            <a:r>
              <a:rPr lang="es-ES" dirty="0"/>
              <a:t>Links Checker Spider</a:t>
            </a:r>
            <a:endParaRPr lang="en-GB" dirty="0"/>
          </a:p>
        </p:txBody>
      </p:sp>
      <p:pic>
        <p:nvPicPr>
          <p:cNvPr id="23" name="Imagen 22" descr="Imagen en blanco y negro de la luna&#10;&#10;Descripción generada automáticamente con confianza baja">
            <a:extLst>
              <a:ext uri="{FF2B5EF4-FFF2-40B4-BE49-F238E27FC236}">
                <a16:creationId xmlns:a16="http://schemas.microsoft.com/office/drawing/2014/main" id="{5CD469B9-1CA6-435F-82E4-761805E2B9A3}"/>
              </a:ext>
            </a:extLst>
          </p:cNvPr>
          <p:cNvPicPr>
            <a:picLocks noChangeAspect="1"/>
          </p:cNvPicPr>
          <p:nvPr/>
        </p:nvPicPr>
        <p:blipFill>
          <a:blip r:embed="rId5"/>
          <a:stretch>
            <a:fillRect/>
          </a:stretch>
        </p:blipFill>
        <p:spPr>
          <a:xfrm>
            <a:off x="9353550" y="3037877"/>
            <a:ext cx="2127732" cy="1189636"/>
          </a:xfrm>
          <a:prstGeom prst="rect">
            <a:avLst/>
          </a:prstGeom>
        </p:spPr>
      </p:pic>
    </p:spTree>
    <p:extLst>
      <p:ext uri="{BB962C8B-B14F-4D97-AF65-F5344CB8AC3E}">
        <p14:creationId xmlns:p14="http://schemas.microsoft.com/office/powerpoint/2010/main" val="8265621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004B29F-BCA0-4EE9-BFF3-D6C02AE4073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75879" y="423754"/>
            <a:ext cx="870467" cy="8704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40432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0" descr="Background pattern&#10;&#10;Description automatically generated">
            <a:extLst>
              <a:ext uri="{FF2B5EF4-FFF2-40B4-BE49-F238E27FC236}">
                <a16:creationId xmlns:a16="http://schemas.microsoft.com/office/drawing/2014/main" id="{0955BD4A-0876-4DFF-917B-41B6995A57E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6" name="Freeform: Shape 17">
            <a:extLst>
              <a:ext uri="{FF2B5EF4-FFF2-40B4-BE49-F238E27FC236}">
                <a16:creationId xmlns:a16="http://schemas.microsoft.com/office/drawing/2014/main" id="{0C56C713-3AF7-414D-8DF4-999A584812E2}"/>
              </a:ext>
            </a:extLst>
          </p:cNvPr>
          <p:cNvSpPr/>
          <p:nvPr/>
        </p:nvSpPr>
        <p:spPr>
          <a:xfrm rot="10800000" flipH="1">
            <a:off x="1676" y="-3153"/>
            <a:ext cx="4503589" cy="2481166"/>
          </a:xfrm>
          <a:custGeom>
            <a:avLst/>
            <a:gdLst>
              <a:gd name="connsiteX0" fmla="*/ 0 w 5251805"/>
              <a:gd name="connsiteY0" fmla="*/ 0 h 2893381"/>
              <a:gd name="connsiteX1" fmla="*/ 2979654 w 5251805"/>
              <a:gd name="connsiteY1" fmla="*/ 406610 h 2893381"/>
              <a:gd name="connsiteX2" fmla="*/ 5251722 w 5251805"/>
              <a:gd name="connsiteY2" fmla="*/ 2619108 h 2893381"/>
              <a:gd name="connsiteX3" fmla="*/ 5251805 w 5251805"/>
              <a:gd name="connsiteY3" fmla="*/ 2893381 h 2893381"/>
              <a:gd name="connsiteX4" fmla="*/ 0 w 5251805"/>
              <a:gd name="connsiteY4" fmla="*/ 2893381 h 2893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51805" h="2893381">
                <a:moveTo>
                  <a:pt x="0" y="0"/>
                </a:moveTo>
                <a:lnTo>
                  <a:pt x="2979654" y="406610"/>
                </a:lnTo>
                <a:cubicBezTo>
                  <a:pt x="4289952" y="585424"/>
                  <a:pt x="5251334" y="1521720"/>
                  <a:pt x="5251722" y="2619108"/>
                </a:cubicBezTo>
                <a:lnTo>
                  <a:pt x="5251805" y="2893381"/>
                </a:lnTo>
                <a:lnTo>
                  <a:pt x="0" y="289338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Verdana"/>
              <a:ea typeface="+mn-ea"/>
              <a:cs typeface="+mn-cs"/>
            </a:endParaRPr>
          </a:p>
        </p:txBody>
      </p:sp>
      <p:sp>
        <p:nvSpPr>
          <p:cNvPr id="6" name="Title 5">
            <a:extLst>
              <a:ext uri="{FF2B5EF4-FFF2-40B4-BE49-F238E27FC236}">
                <a16:creationId xmlns:a16="http://schemas.microsoft.com/office/drawing/2014/main" id="{62471599-0A99-4CD5-B8D0-A65F1CE704AB}"/>
              </a:ext>
            </a:extLst>
          </p:cNvPr>
          <p:cNvSpPr>
            <a:spLocks noGrp="1"/>
          </p:cNvSpPr>
          <p:nvPr>
            <p:ph type="title"/>
          </p:nvPr>
        </p:nvSpPr>
        <p:spPr>
          <a:xfrm>
            <a:off x="301438" y="831737"/>
            <a:ext cx="2304093" cy="900000"/>
          </a:xfrm>
        </p:spPr>
        <p:txBody>
          <a:bodyPr/>
          <a:lstStyle/>
          <a:p>
            <a:r>
              <a:rPr lang="en-GB" b="1" dirty="0"/>
              <a:t>Applied innovation</a:t>
            </a:r>
            <a:br>
              <a:rPr lang="en-GB" dirty="0"/>
            </a:br>
            <a:r>
              <a:rPr lang="en-GB" sz="2800" dirty="0"/>
              <a:t>by SogetiLabs</a:t>
            </a:r>
            <a:endParaRPr lang="en-GB" dirty="0"/>
          </a:p>
        </p:txBody>
      </p:sp>
      <p:sp>
        <p:nvSpPr>
          <p:cNvPr id="2" name="Rectangle 1">
            <a:hlinkClick r:id="rId4"/>
            <a:extLst>
              <a:ext uri="{FF2B5EF4-FFF2-40B4-BE49-F238E27FC236}">
                <a16:creationId xmlns:a16="http://schemas.microsoft.com/office/drawing/2014/main" id="{F18DF5E6-196A-427D-BC66-283AAE15F8D3}"/>
              </a:ext>
            </a:extLst>
          </p:cNvPr>
          <p:cNvSpPr/>
          <p:nvPr/>
        </p:nvSpPr>
        <p:spPr>
          <a:xfrm>
            <a:off x="3952875" y="4657725"/>
            <a:ext cx="1619287" cy="190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4" name="CuadroTexto 13">
            <a:extLst>
              <a:ext uri="{FF2B5EF4-FFF2-40B4-BE49-F238E27FC236}">
                <a16:creationId xmlns:a16="http://schemas.microsoft.com/office/drawing/2014/main" id="{8C3322E6-4481-4277-8425-F480E3369AD3}"/>
              </a:ext>
            </a:extLst>
          </p:cNvPr>
          <p:cNvSpPr txBox="1"/>
          <p:nvPr/>
        </p:nvSpPr>
        <p:spPr>
          <a:xfrm>
            <a:off x="8706511" y="5136010"/>
            <a:ext cx="2942704" cy="121571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t>Innovation is </a:t>
            </a:r>
            <a:r>
              <a:rPr kumimoji="0" lang="en-US" sz="1200" b="1"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t>applied creativity</a:t>
            </a:r>
            <a:r>
              <a:rPr kumimoji="0" lang="en-US" sz="1200" b="0"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t>. By definition, innovation is always about </a:t>
            </a:r>
            <a:r>
              <a:rPr kumimoji="0" lang="en-US" sz="1200" b="1" i="0" u="none" strike="noStrike" kern="1200" cap="none" spc="0" normalizeH="0" baseline="0" noProof="0" dirty="0">
                <a:ln>
                  <a:noFill/>
                </a:ln>
                <a:solidFill>
                  <a:srgbClr val="12ABDB"/>
                </a:solidFill>
                <a:effectLst/>
                <a:uLnTx/>
                <a:uFillTx/>
                <a:latin typeface="Ubuntu Light" panose="020B0304030602030204" pitchFamily="34" charset="0"/>
                <a:ea typeface="+mn-ea"/>
                <a:cs typeface="+mn-cs"/>
              </a:rPr>
              <a:t>introducing something new, or improved, or both </a:t>
            </a:r>
            <a:r>
              <a:rPr kumimoji="0" lang="en-US" sz="1200" b="0"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t>and it is usually assumed to be a positive thing.</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Ken Robinson</a:t>
            </a:r>
          </a:p>
        </p:txBody>
      </p:sp>
      <p:pic>
        <p:nvPicPr>
          <p:cNvPr id="15" name="Graphique 2" descr="Couronne">
            <a:extLst>
              <a:ext uri="{FF2B5EF4-FFF2-40B4-BE49-F238E27FC236}">
                <a16:creationId xmlns:a16="http://schemas.microsoft.com/office/drawing/2014/main" id="{C012A7C8-A63C-47EA-985B-4D21BD111A2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437824" y="2610263"/>
            <a:ext cx="1173476" cy="1173476"/>
          </a:xfrm>
          <a:prstGeom prst="rect">
            <a:avLst/>
          </a:prstGeom>
        </p:spPr>
      </p:pic>
      <p:sp>
        <p:nvSpPr>
          <p:cNvPr id="16" name="Rectangle 11">
            <a:extLst>
              <a:ext uri="{FF2B5EF4-FFF2-40B4-BE49-F238E27FC236}">
                <a16:creationId xmlns:a16="http://schemas.microsoft.com/office/drawing/2014/main" id="{556203E4-C1E2-4107-8E7A-4A9CE5AB9330}"/>
              </a:ext>
            </a:extLst>
          </p:cNvPr>
          <p:cNvSpPr/>
          <p:nvPr/>
        </p:nvSpPr>
        <p:spPr>
          <a:xfrm>
            <a:off x="3926409" y="382582"/>
            <a:ext cx="703852"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37C1FF"/>
                </a:solidFill>
                <a:effectLst/>
                <a:uLnTx/>
                <a:uFillTx/>
                <a:latin typeface="Ubuntu" panose="020B0504030602030204" pitchFamily="34" charset="0"/>
                <a:ea typeface="+mn-ea"/>
                <a:cs typeface="+mn-cs"/>
              </a:rPr>
              <a:t> </a:t>
            </a:r>
            <a:endParaRPr kumimoji="0" lang="en-US" sz="3600" b="0" i="0" u="none" strike="noStrike" kern="1200" cap="none" spc="0" normalizeH="0" baseline="0" noProof="0" dirty="0">
              <a:ln>
                <a:noFill/>
              </a:ln>
              <a:solidFill>
                <a:srgbClr val="37C1FF"/>
              </a:solidFill>
              <a:effectLst/>
              <a:uLnTx/>
              <a:uFillTx/>
              <a:latin typeface="Ubuntu" panose="020B0504030602030204" pitchFamily="34" charset="0"/>
              <a:ea typeface="+mn-ea"/>
              <a:cs typeface="+mn-cs"/>
            </a:endParaRPr>
          </a:p>
        </p:txBody>
      </p:sp>
      <p:pic>
        <p:nvPicPr>
          <p:cNvPr id="17" name="Picture 14" descr="Logo, company name&#10;&#10;Description automatically generated">
            <a:extLst>
              <a:ext uri="{FF2B5EF4-FFF2-40B4-BE49-F238E27FC236}">
                <a16:creationId xmlns:a16="http://schemas.microsoft.com/office/drawing/2014/main" id="{D026E7E5-6074-4803-B9DF-F45DCA8F90C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396436" y="2032430"/>
            <a:ext cx="1883109" cy="2351497"/>
          </a:xfrm>
          <a:prstGeom prst="rect">
            <a:avLst/>
          </a:prstGeom>
        </p:spPr>
      </p:pic>
      <p:pic>
        <p:nvPicPr>
          <p:cNvPr id="23" name="Graphic 16">
            <a:extLst>
              <a:ext uri="{FF2B5EF4-FFF2-40B4-BE49-F238E27FC236}">
                <a16:creationId xmlns:a16="http://schemas.microsoft.com/office/drawing/2014/main" id="{26EE9F01-2E62-4721-8D56-59EE2A1E81E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49055" y="1059077"/>
            <a:ext cx="216779" cy="270270"/>
          </a:xfrm>
          <a:prstGeom prst="rect">
            <a:avLst/>
          </a:prstGeom>
        </p:spPr>
      </p:pic>
      <p:pic>
        <p:nvPicPr>
          <p:cNvPr id="24" name="Picture 16" descr="Logo&#10;&#10;Description automatically generated">
            <a:extLst>
              <a:ext uri="{FF2B5EF4-FFF2-40B4-BE49-F238E27FC236}">
                <a16:creationId xmlns:a16="http://schemas.microsoft.com/office/drawing/2014/main" id="{77A64485-AD9F-4E37-AD26-531066A9F0CD}"/>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9265834" y="252000"/>
            <a:ext cx="2440351" cy="899283"/>
          </a:xfrm>
          <a:prstGeom prst="rect">
            <a:avLst/>
          </a:prstGeom>
        </p:spPr>
      </p:pic>
      <p:sp>
        <p:nvSpPr>
          <p:cNvPr id="27" name="CuadroTexto 26">
            <a:extLst>
              <a:ext uri="{FF2B5EF4-FFF2-40B4-BE49-F238E27FC236}">
                <a16:creationId xmlns:a16="http://schemas.microsoft.com/office/drawing/2014/main" id="{A689931A-C8F4-4AF3-BE0E-2F9F8E553C52}"/>
              </a:ext>
            </a:extLst>
          </p:cNvPr>
          <p:cNvSpPr txBox="1"/>
          <p:nvPr/>
        </p:nvSpPr>
        <p:spPr>
          <a:xfrm>
            <a:off x="2933877" y="3968932"/>
            <a:ext cx="2229944" cy="836126"/>
          </a:xfrm>
          <a:prstGeom prst="rect">
            <a:avLst/>
          </a:prstGeom>
          <a:noFill/>
        </p:spPr>
        <p:txBody>
          <a:bodyPr wrap="square">
            <a:spAutoFit/>
          </a:bodyPr>
          <a:lstStyle/>
          <a:p>
            <a:pPr marL="0" marR="0" lvl="0" indent="0" algn="ctr" defTabSz="914400" rtl="0" eaLnBrk="1" fontAlgn="auto" latinLnBrk="0" hangingPunct="0">
              <a:lnSpc>
                <a:spcPts val="1700"/>
              </a:lnSpc>
              <a:spcBef>
                <a:spcPts val="0"/>
              </a:spcBef>
              <a:spcAft>
                <a:spcPts val="0"/>
              </a:spcAft>
              <a:buClrTx/>
              <a:buSzTx/>
              <a:buFontTx/>
              <a:buNone/>
              <a:tabLst/>
              <a:defRPr sz="4000" b="1">
                <a:solidFill>
                  <a:srgbClr val="2B143D"/>
                </a:solidFill>
                <a:latin typeface="Ubuntu Mono"/>
                <a:ea typeface="Ubuntu Mono"/>
                <a:cs typeface="Ubuntu Mono"/>
                <a:sym typeface="Ubuntu Mono"/>
              </a:defRPr>
            </a:pPr>
            <a:r>
              <a:rPr kumimoji="0" lang="en-US" sz="1700" b="1" i="0" u="none" strike="noStrike" kern="0" cap="none" spc="0" normalizeH="0" baseline="0" noProof="0" dirty="0">
                <a:ln>
                  <a:noFill/>
                </a:ln>
                <a:solidFill>
                  <a:prstClr val="white"/>
                </a:solidFill>
                <a:effectLst/>
                <a:uLnTx/>
                <a:uFillTx/>
                <a:latin typeface="Ubuntu Light" panose="020B0304030602030204" pitchFamily="34" charset="0"/>
                <a:sym typeface="Ubuntu Mono"/>
              </a:rPr>
              <a:t>Sogeti Labs </a:t>
            </a:r>
          </a:p>
          <a:p>
            <a:pPr marL="0" marR="0" lvl="0" indent="0" algn="ctr" defTabSz="914400" rtl="0" eaLnBrk="1" fontAlgn="auto" latinLnBrk="0" hangingPunct="0">
              <a:lnSpc>
                <a:spcPts val="1700"/>
              </a:lnSpc>
              <a:spcBef>
                <a:spcPts val="0"/>
              </a:spcBef>
              <a:spcAft>
                <a:spcPts val="0"/>
              </a:spcAft>
              <a:buClrTx/>
              <a:buSzTx/>
              <a:buFontTx/>
              <a:buNone/>
              <a:tabLst/>
              <a:defRPr sz="4000" b="1">
                <a:solidFill>
                  <a:srgbClr val="2B143D"/>
                </a:solidFill>
                <a:latin typeface="Ubuntu Mono"/>
                <a:ea typeface="Ubuntu Mono"/>
                <a:cs typeface="Ubuntu Mono"/>
                <a:sym typeface="Ubuntu Mono"/>
              </a:defRPr>
            </a:pPr>
            <a:r>
              <a:rPr kumimoji="0" lang="en-US" sz="1700" b="1" i="0" u="none" strike="noStrike" kern="0" cap="none" spc="0" normalizeH="0" baseline="0" noProof="0" dirty="0">
                <a:ln>
                  <a:noFill/>
                </a:ln>
                <a:solidFill>
                  <a:prstClr val="white"/>
                </a:solidFill>
                <a:effectLst/>
                <a:uLnTx/>
                <a:uFillTx/>
                <a:latin typeface="Ubuntu Light" panose="020B0304030602030204" pitchFamily="34" charset="0"/>
                <a:sym typeface="Ubuntu Mono"/>
              </a:rPr>
              <a:t>team in Spain</a:t>
            </a:r>
          </a:p>
          <a:p>
            <a:pPr marL="0" marR="0" lvl="0" indent="0" algn="ctr" defTabSz="914400" rtl="0" eaLnBrk="1" fontAlgn="auto" latinLnBrk="0" hangingPunct="0">
              <a:lnSpc>
                <a:spcPct val="100000"/>
              </a:lnSpc>
              <a:spcBef>
                <a:spcPts val="0"/>
              </a:spcBef>
              <a:spcAft>
                <a:spcPts val="0"/>
              </a:spcAft>
              <a:buClrTx/>
              <a:buSzTx/>
              <a:buFontTx/>
              <a:buNone/>
              <a:tabLst/>
              <a:defRPr sz="2400">
                <a:solidFill>
                  <a:srgbClr val="2B143D"/>
                </a:solidFill>
                <a:latin typeface="Ubuntu"/>
                <a:ea typeface="Ubuntu"/>
                <a:cs typeface="Ubuntu"/>
                <a:sym typeface="Ubuntu"/>
              </a:defRPr>
            </a:pPr>
            <a:r>
              <a:rPr kumimoji="0" lang="en-US" sz="1000" b="0" i="0" u="none" strike="noStrike" kern="0" cap="none" spc="0" normalizeH="0" baseline="0" noProof="0" dirty="0">
                <a:ln>
                  <a:noFill/>
                </a:ln>
                <a:solidFill>
                  <a:prstClr val="white"/>
                </a:solidFill>
                <a:effectLst/>
                <a:uLnTx/>
                <a:uFillTx/>
                <a:latin typeface="Ubuntu"/>
                <a:sym typeface="Ubuntu"/>
              </a:rPr>
              <a:t>T-Shaped, innovative and DevOps-oriented professionals in Spain</a:t>
            </a:r>
            <a:r>
              <a:rPr kumimoji="0" lang="en-US" sz="500" b="0" i="0" u="none" strike="noStrike" kern="0" cap="none" spc="0" normalizeH="0" baseline="0" noProof="0" dirty="0">
                <a:ln>
                  <a:noFill/>
                </a:ln>
                <a:solidFill>
                  <a:prstClr val="white"/>
                </a:solidFill>
                <a:effectLst/>
                <a:uLnTx/>
                <a:uFillTx/>
                <a:latin typeface="Ubuntu"/>
                <a:sym typeface="Ubuntu"/>
              </a:rPr>
              <a:t>.</a:t>
            </a:r>
          </a:p>
        </p:txBody>
      </p:sp>
      <p:grpSp>
        <p:nvGrpSpPr>
          <p:cNvPr id="28" name="Group 1">
            <a:extLst>
              <a:ext uri="{FF2B5EF4-FFF2-40B4-BE49-F238E27FC236}">
                <a16:creationId xmlns:a16="http://schemas.microsoft.com/office/drawing/2014/main" id="{09474414-F91E-47EA-B2C8-426FE5909853}"/>
              </a:ext>
            </a:extLst>
          </p:cNvPr>
          <p:cNvGrpSpPr/>
          <p:nvPr/>
        </p:nvGrpSpPr>
        <p:grpSpPr>
          <a:xfrm rot="10800000">
            <a:off x="3560805" y="5343391"/>
            <a:ext cx="1155661" cy="1514610"/>
            <a:chOff x="0" y="0"/>
            <a:chExt cx="7222801" cy="9577599"/>
          </a:xfrm>
        </p:grpSpPr>
        <p:grpSp>
          <p:nvGrpSpPr>
            <p:cNvPr id="29" name="Group 3">
              <a:extLst>
                <a:ext uri="{FF2B5EF4-FFF2-40B4-BE49-F238E27FC236}">
                  <a16:creationId xmlns:a16="http://schemas.microsoft.com/office/drawing/2014/main" id="{B46DD25A-097A-4338-AD44-7350D7343C84}"/>
                </a:ext>
              </a:extLst>
            </p:cNvPr>
            <p:cNvGrpSpPr/>
            <p:nvPr/>
          </p:nvGrpSpPr>
          <p:grpSpPr>
            <a:xfrm>
              <a:off x="5250168" y="7087253"/>
              <a:ext cx="907221" cy="1409049"/>
              <a:chOff x="0" y="0"/>
              <a:chExt cx="907219" cy="1409047"/>
            </a:xfrm>
          </p:grpSpPr>
          <p:sp>
            <p:nvSpPr>
              <p:cNvPr id="87" name="Trapezoid 5">
                <a:extLst>
                  <a:ext uri="{FF2B5EF4-FFF2-40B4-BE49-F238E27FC236}">
                    <a16:creationId xmlns:a16="http://schemas.microsoft.com/office/drawing/2014/main" id="{1ABB1C63-F639-40C3-9DBE-B0DA07F7CEB8}"/>
                  </a:ext>
                </a:extLst>
              </p:cNvPr>
              <p:cNvSpPr/>
              <p:nvPr/>
            </p:nvSpPr>
            <p:spPr>
              <a:xfrm rot="8023927" flipH="1">
                <a:off x="428288" y="482482"/>
                <a:ext cx="286929" cy="18879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760" y="0"/>
                    </a:lnTo>
                    <a:lnTo>
                      <a:pt x="19840" y="0"/>
                    </a:lnTo>
                    <a:lnTo>
                      <a:pt x="21600" y="21600"/>
                    </a:lnTo>
                    <a:close/>
                  </a:path>
                </a:pathLst>
              </a:custGeom>
              <a:solidFill>
                <a:srgbClr val="09556E"/>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solidFill>
                      <a:srgbClr val="FFFFFF"/>
                    </a:solidFill>
                    <a:latin typeface="Verdana"/>
                    <a:ea typeface="Verdana"/>
                    <a:cs typeface="Verdana"/>
                    <a:sym typeface="Verdana"/>
                  </a:defRPr>
                </a:pPr>
                <a:endParaRPr kumimoji="0" sz="1300" b="0" i="0" u="none" strike="noStrike" kern="1200" cap="none" spc="0" normalizeH="0" baseline="0" noProof="0">
                  <a:ln>
                    <a:noFill/>
                  </a:ln>
                  <a:solidFill>
                    <a:srgbClr val="FFFFFF"/>
                  </a:solidFill>
                  <a:effectLst/>
                  <a:uLnTx/>
                  <a:uFillTx/>
                  <a:latin typeface="Verdana"/>
                  <a:ea typeface="Verdana"/>
                  <a:cs typeface="Verdana"/>
                  <a:sym typeface="Verdana"/>
                </a:endParaRPr>
              </a:p>
            </p:txBody>
          </p:sp>
          <p:sp>
            <p:nvSpPr>
              <p:cNvPr id="88" name="Trapezoid 6">
                <a:extLst>
                  <a:ext uri="{FF2B5EF4-FFF2-40B4-BE49-F238E27FC236}">
                    <a16:creationId xmlns:a16="http://schemas.microsoft.com/office/drawing/2014/main" id="{108EE2A2-6331-4B83-A9AF-32944C8A9CAD}"/>
                  </a:ext>
                </a:extLst>
              </p:cNvPr>
              <p:cNvSpPr/>
              <p:nvPr/>
            </p:nvSpPr>
            <p:spPr>
              <a:xfrm rot="9389225" flipH="1">
                <a:off x="667489" y="916966"/>
                <a:ext cx="209345" cy="19589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503" y="0"/>
                    </a:lnTo>
                    <a:lnTo>
                      <a:pt x="19097" y="0"/>
                    </a:lnTo>
                    <a:lnTo>
                      <a:pt x="21600" y="21600"/>
                    </a:lnTo>
                    <a:close/>
                  </a:path>
                </a:pathLst>
              </a:custGeom>
              <a:solidFill>
                <a:srgbClr val="09556E"/>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solidFill>
                      <a:srgbClr val="FFFFFF"/>
                    </a:solidFill>
                    <a:latin typeface="Verdana"/>
                    <a:ea typeface="Verdana"/>
                    <a:cs typeface="Verdana"/>
                    <a:sym typeface="Verdana"/>
                  </a:defRPr>
                </a:pPr>
                <a:endParaRPr kumimoji="0" sz="1300" b="0" i="0" u="none" strike="noStrike" kern="1200" cap="none" spc="0" normalizeH="0" baseline="0" noProof="0">
                  <a:ln>
                    <a:noFill/>
                  </a:ln>
                  <a:solidFill>
                    <a:srgbClr val="FFFFFF"/>
                  </a:solidFill>
                  <a:effectLst/>
                  <a:uLnTx/>
                  <a:uFillTx/>
                  <a:latin typeface="Verdana"/>
                  <a:ea typeface="Verdana"/>
                  <a:cs typeface="Verdana"/>
                  <a:sym typeface="Verdana"/>
                </a:endParaRPr>
              </a:p>
            </p:txBody>
          </p:sp>
          <p:sp>
            <p:nvSpPr>
              <p:cNvPr id="89" name="Trapezoid 7">
                <a:extLst>
                  <a:ext uri="{FF2B5EF4-FFF2-40B4-BE49-F238E27FC236}">
                    <a16:creationId xmlns:a16="http://schemas.microsoft.com/office/drawing/2014/main" id="{BD014723-F42F-4AE5-B3FF-3D0F922EE17B}"/>
                  </a:ext>
                </a:extLst>
              </p:cNvPr>
              <p:cNvSpPr/>
              <p:nvPr/>
            </p:nvSpPr>
            <p:spPr>
              <a:xfrm rot="8023927" flipH="1">
                <a:off x="132242" y="63249"/>
                <a:ext cx="405456" cy="539256"/>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675" y="0"/>
                    </a:lnTo>
                    <a:lnTo>
                      <a:pt x="18925" y="0"/>
                    </a:lnTo>
                    <a:lnTo>
                      <a:pt x="21600" y="21600"/>
                    </a:lnTo>
                    <a:close/>
                  </a:path>
                </a:pathLst>
              </a:custGeom>
              <a:solidFill>
                <a:srgbClr val="12ABDB"/>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solidFill>
                      <a:srgbClr val="FFFFFF"/>
                    </a:solidFill>
                    <a:latin typeface="Verdana"/>
                    <a:ea typeface="Verdana"/>
                    <a:cs typeface="Verdana"/>
                    <a:sym typeface="Verdana"/>
                  </a:defRPr>
                </a:pPr>
                <a:endParaRPr kumimoji="0" sz="1300" b="0" i="0" u="none" strike="noStrike" kern="1200" cap="none" spc="0" normalizeH="0" baseline="0" noProof="0">
                  <a:ln>
                    <a:noFill/>
                  </a:ln>
                  <a:solidFill>
                    <a:srgbClr val="FFFFFF"/>
                  </a:solidFill>
                  <a:effectLst/>
                  <a:uLnTx/>
                  <a:uFillTx/>
                  <a:latin typeface="Verdana"/>
                  <a:ea typeface="Verdana"/>
                  <a:cs typeface="Verdana"/>
                  <a:sym typeface="Verdana"/>
                </a:endParaRPr>
              </a:p>
            </p:txBody>
          </p:sp>
          <p:sp>
            <p:nvSpPr>
              <p:cNvPr id="90" name="Trapezoid 8">
                <a:extLst>
                  <a:ext uri="{FF2B5EF4-FFF2-40B4-BE49-F238E27FC236}">
                    <a16:creationId xmlns:a16="http://schemas.microsoft.com/office/drawing/2014/main" id="{B2CC3C45-70E8-4296-B1F8-15FBA83E04C7}"/>
                  </a:ext>
                </a:extLst>
              </p:cNvPr>
              <p:cNvSpPr/>
              <p:nvPr/>
            </p:nvSpPr>
            <p:spPr>
              <a:xfrm rot="9389225" flipH="1">
                <a:off x="523399" y="579114"/>
                <a:ext cx="295823" cy="39344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675" y="0"/>
                    </a:lnTo>
                    <a:lnTo>
                      <a:pt x="18925" y="0"/>
                    </a:lnTo>
                    <a:lnTo>
                      <a:pt x="21600" y="21600"/>
                    </a:lnTo>
                    <a:close/>
                  </a:path>
                </a:pathLst>
              </a:custGeom>
              <a:solidFill>
                <a:srgbClr val="12ABDB"/>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solidFill>
                      <a:srgbClr val="FFFFFF"/>
                    </a:solidFill>
                    <a:latin typeface="Verdana"/>
                    <a:ea typeface="Verdana"/>
                    <a:cs typeface="Verdana"/>
                    <a:sym typeface="Verdana"/>
                  </a:defRPr>
                </a:pPr>
                <a:endParaRPr kumimoji="0" sz="1300" b="0" i="0" u="none" strike="noStrike" kern="1200" cap="none" spc="0" normalizeH="0" baseline="0" noProof="0">
                  <a:ln>
                    <a:noFill/>
                  </a:ln>
                  <a:solidFill>
                    <a:srgbClr val="FFFFFF"/>
                  </a:solidFill>
                  <a:effectLst/>
                  <a:uLnTx/>
                  <a:uFillTx/>
                  <a:latin typeface="Verdana"/>
                  <a:ea typeface="Verdana"/>
                  <a:cs typeface="Verdana"/>
                  <a:sym typeface="Verdana"/>
                </a:endParaRPr>
              </a:p>
            </p:txBody>
          </p:sp>
          <p:sp>
            <p:nvSpPr>
              <p:cNvPr id="91" name="Trapezoid 9">
                <a:extLst>
                  <a:ext uri="{FF2B5EF4-FFF2-40B4-BE49-F238E27FC236}">
                    <a16:creationId xmlns:a16="http://schemas.microsoft.com/office/drawing/2014/main" id="{3E6C461D-4C06-4F2D-8A0D-221D2C2B2556}"/>
                  </a:ext>
                </a:extLst>
              </p:cNvPr>
              <p:cNvSpPr/>
              <p:nvPr/>
            </p:nvSpPr>
            <p:spPr>
              <a:xfrm rot="10978880" flipH="1">
                <a:off x="676181" y="1039805"/>
                <a:ext cx="189421" cy="36456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675" y="0"/>
                    </a:lnTo>
                    <a:lnTo>
                      <a:pt x="18925" y="0"/>
                    </a:lnTo>
                    <a:lnTo>
                      <a:pt x="21600" y="21600"/>
                    </a:lnTo>
                    <a:close/>
                  </a:path>
                </a:pathLst>
              </a:custGeom>
              <a:solidFill>
                <a:srgbClr val="12ABDB"/>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solidFill>
                      <a:srgbClr val="FFFFFF"/>
                    </a:solidFill>
                    <a:latin typeface="Verdana"/>
                    <a:ea typeface="Verdana"/>
                    <a:cs typeface="Verdana"/>
                    <a:sym typeface="Verdana"/>
                  </a:defRPr>
                </a:pPr>
                <a:endParaRPr kumimoji="0" sz="1300" b="0" i="0" u="none" strike="noStrike" kern="1200" cap="none" spc="0" normalizeH="0" baseline="0" noProof="0">
                  <a:ln>
                    <a:noFill/>
                  </a:ln>
                  <a:solidFill>
                    <a:srgbClr val="FFFFFF"/>
                  </a:solidFill>
                  <a:effectLst/>
                  <a:uLnTx/>
                  <a:uFillTx/>
                  <a:latin typeface="Verdana"/>
                  <a:ea typeface="Verdana"/>
                  <a:cs typeface="Verdana"/>
                  <a:sym typeface="Verdana"/>
                </a:endParaRPr>
              </a:p>
            </p:txBody>
          </p:sp>
        </p:grpSp>
        <p:grpSp>
          <p:nvGrpSpPr>
            <p:cNvPr id="30" name="Group 10">
              <a:extLst>
                <a:ext uri="{FF2B5EF4-FFF2-40B4-BE49-F238E27FC236}">
                  <a16:creationId xmlns:a16="http://schemas.microsoft.com/office/drawing/2014/main" id="{667CF683-E469-404C-AC8B-E196E1FDF3E5}"/>
                </a:ext>
              </a:extLst>
            </p:cNvPr>
            <p:cNvGrpSpPr/>
            <p:nvPr/>
          </p:nvGrpSpPr>
          <p:grpSpPr>
            <a:xfrm>
              <a:off x="4914139" y="7819485"/>
              <a:ext cx="1758599" cy="1758115"/>
              <a:chOff x="0" y="0"/>
              <a:chExt cx="1758597" cy="1758114"/>
            </a:xfrm>
          </p:grpSpPr>
          <p:sp>
            <p:nvSpPr>
              <p:cNvPr id="85" name="Freeform: Shape 23">
                <a:extLst>
                  <a:ext uri="{FF2B5EF4-FFF2-40B4-BE49-F238E27FC236}">
                    <a16:creationId xmlns:a16="http://schemas.microsoft.com/office/drawing/2014/main" id="{E77F78DC-8D0A-4687-AC31-74F16F5D6650}"/>
                  </a:ext>
                </a:extLst>
              </p:cNvPr>
              <p:cNvSpPr/>
              <p:nvPr/>
            </p:nvSpPr>
            <p:spPr>
              <a:xfrm rot="20269720">
                <a:off x="204571" y="204769"/>
                <a:ext cx="1349456" cy="1348575"/>
              </a:xfrm>
              <a:custGeom>
                <a:avLst/>
                <a:gdLst/>
                <a:ahLst/>
                <a:cxnLst>
                  <a:cxn ang="0">
                    <a:pos x="wd2" y="hd2"/>
                  </a:cxn>
                  <a:cxn ang="5400000">
                    <a:pos x="wd2" y="hd2"/>
                  </a:cxn>
                  <a:cxn ang="10800000">
                    <a:pos x="wd2" y="hd2"/>
                  </a:cxn>
                  <a:cxn ang="16200000">
                    <a:pos x="wd2" y="hd2"/>
                  </a:cxn>
                </a:cxnLst>
                <a:rect l="0" t="0" r="r" b="b"/>
                <a:pathLst>
                  <a:path w="21563" h="21541" extrusionOk="0">
                    <a:moveTo>
                      <a:pt x="20441" y="15273"/>
                    </a:moveTo>
                    <a:cubicBezTo>
                      <a:pt x="20221" y="15223"/>
                      <a:pt x="20001" y="15173"/>
                      <a:pt x="19780" y="15128"/>
                    </a:cubicBezTo>
                    <a:cubicBezTo>
                      <a:pt x="19602" y="15086"/>
                      <a:pt x="19419" y="15049"/>
                      <a:pt x="19240" y="15003"/>
                    </a:cubicBezTo>
                    <a:cubicBezTo>
                      <a:pt x="19124" y="14974"/>
                      <a:pt x="19033" y="15007"/>
                      <a:pt x="18958" y="15090"/>
                    </a:cubicBezTo>
                    <a:cubicBezTo>
                      <a:pt x="18804" y="15269"/>
                      <a:pt x="18684" y="15472"/>
                      <a:pt x="18617" y="15701"/>
                    </a:cubicBezTo>
                    <a:cubicBezTo>
                      <a:pt x="18584" y="15809"/>
                      <a:pt x="18634" y="15888"/>
                      <a:pt x="18700" y="15962"/>
                    </a:cubicBezTo>
                    <a:cubicBezTo>
                      <a:pt x="18941" y="16224"/>
                      <a:pt x="19186" y="16486"/>
                      <a:pt x="19427" y="16743"/>
                    </a:cubicBezTo>
                    <a:cubicBezTo>
                      <a:pt x="19610" y="16938"/>
                      <a:pt x="19618" y="17055"/>
                      <a:pt x="19473" y="17279"/>
                    </a:cubicBezTo>
                    <a:cubicBezTo>
                      <a:pt x="19465" y="17291"/>
                      <a:pt x="19456" y="17308"/>
                      <a:pt x="19444" y="17320"/>
                    </a:cubicBezTo>
                    <a:cubicBezTo>
                      <a:pt x="19170" y="17690"/>
                      <a:pt x="19049" y="17694"/>
                      <a:pt x="18713" y="17503"/>
                    </a:cubicBezTo>
                    <a:cubicBezTo>
                      <a:pt x="18439" y="17345"/>
                      <a:pt x="18148" y="17204"/>
                      <a:pt x="17869" y="17055"/>
                    </a:cubicBezTo>
                    <a:cubicBezTo>
                      <a:pt x="17753" y="16992"/>
                      <a:pt x="17645" y="16992"/>
                      <a:pt x="17541" y="17067"/>
                    </a:cubicBezTo>
                    <a:cubicBezTo>
                      <a:pt x="17375" y="17183"/>
                      <a:pt x="17234" y="17325"/>
                      <a:pt x="17113" y="17487"/>
                    </a:cubicBezTo>
                    <a:cubicBezTo>
                      <a:pt x="17026" y="17603"/>
                      <a:pt x="17022" y="17719"/>
                      <a:pt x="17092" y="17848"/>
                    </a:cubicBezTo>
                    <a:cubicBezTo>
                      <a:pt x="17263" y="18159"/>
                      <a:pt x="17429" y="18475"/>
                      <a:pt x="17591" y="18791"/>
                    </a:cubicBezTo>
                    <a:cubicBezTo>
                      <a:pt x="17703" y="19011"/>
                      <a:pt x="17687" y="19110"/>
                      <a:pt x="17508" y="19281"/>
                    </a:cubicBezTo>
                    <a:cubicBezTo>
                      <a:pt x="17479" y="19306"/>
                      <a:pt x="17454" y="19335"/>
                      <a:pt x="17425" y="19355"/>
                    </a:cubicBezTo>
                    <a:cubicBezTo>
                      <a:pt x="17159" y="19551"/>
                      <a:pt x="17022" y="19646"/>
                      <a:pt x="16710" y="19331"/>
                    </a:cubicBezTo>
                    <a:cubicBezTo>
                      <a:pt x="16486" y="19102"/>
                      <a:pt x="16245" y="18899"/>
                      <a:pt x="16012" y="18678"/>
                    </a:cubicBezTo>
                    <a:cubicBezTo>
                      <a:pt x="15904" y="18575"/>
                      <a:pt x="15788" y="18554"/>
                      <a:pt x="15655" y="18608"/>
                    </a:cubicBezTo>
                    <a:cubicBezTo>
                      <a:pt x="15480" y="18678"/>
                      <a:pt x="15314" y="18770"/>
                      <a:pt x="15165" y="18886"/>
                    </a:cubicBezTo>
                    <a:cubicBezTo>
                      <a:pt x="15040" y="18982"/>
                      <a:pt x="15007" y="19102"/>
                      <a:pt x="15044" y="19252"/>
                    </a:cubicBezTo>
                    <a:cubicBezTo>
                      <a:pt x="15131" y="19613"/>
                      <a:pt x="15215" y="19978"/>
                      <a:pt x="15293" y="20340"/>
                    </a:cubicBezTo>
                    <a:cubicBezTo>
                      <a:pt x="15327" y="20498"/>
                      <a:pt x="15273" y="20618"/>
                      <a:pt x="15131" y="20701"/>
                    </a:cubicBezTo>
                    <a:cubicBezTo>
                      <a:pt x="15036" y="20759"/>
                      <a:pt x="14932" y="20805"/>
                      <a:pt x="14824" y="20838"/>
                    </a:cubicBezTo>
                    <a:cubicBezTo>
                      <a:pt x="14604" y="20909"/>
                      <a:pt x="14479" y="20867"/>
                      <a:pt x="14355" y="20672"/>
                    </a:cubicBezTo>
                    <a:cubicBezTo>
                      <a:pt x="14172" y="20381"/>
                      <a:pt x="13985" y="20095"/>
                      <a:pt x="13810" y="19796"/>
                    </a:cubicBezTo>
                    <a:cubicBezTo>
                      <a:pt x="13715" y="19634"/>
                      <a:pt x="13590" y="19571"/>
                      <a:pt x="13403" y="19605"/>
                    </a:cubicBezTo>
                    <a:cubicBezTo>
                      <a:pt x="13254" y="19634"/>
                      <a:pt x="13108" y="19671"/>
                      <a:pt x="12967" y="19721"/>
                    </a:cubicBezTo>
                    <a:cubicBezTo>
                      <a:pt x="12772" y="19791"/>
                      <a:pt x="12709" y="19875"/>
                      <a:pt x="12701" y="20082"/>
                    </a:cubicBezTo>
                    <a:cubicBezTo>
                      <a:pt x="12689" y="20410"/>
                      <a:pt x="12680" y="20734"/>
                      <a:pt x="12672" y="21062"/>
                    </a:cubicBezTo>
                    <a:cubicBezTo>
                      <a:pt x="12664" y="21361"/>
                      <a:pt x="12589" y="21457"/>
                      <a:pt x="12294" y="21511"/>
                    </a:cubicBezTo>
                    <a:cubicBezTo>
                      <a:pt x="12215" y="21527"/>
                      <a:pt x="12136" y="21536"/>
                      <a:pt x="12057" y="21540"/>
                    </a:cubicBezTo>
                    <a:cubicBezTo>
                      <a:pt x="11862" y="21552"/>
                      <a:pt x="11737" y="21473"/>
                      <a:pt x="11675" y="21282"/>
                    </a:cubicBezTo>
                    <a:cubicBezTo>
                      <a:pt x="11563" y="20934"/>
                      <a:pt x="11455" y="20589"/>
                      <a:pt x="11355" y="20240"/>
                    </a:cubicBezTo>
                    <a:cubicBezTo>
                      <a:pt x="11309" y="20082"/>
                      <a:pt x="11214" y="20007"/>
                      <a:pt x="11056" y="19983"/>
                    </a:cubicBezTo>
                    <a:cubicBezTo>
                      <a:pt x="10873" y="19958"/>
                      <a:pt x="10690" y="19958"/>
                      <a:pt x="10507" y="19987"/>
                    </a:cubicBezTo>
                    <a:cubicBezTo>
                      <a:pt x="10370" y="20007"/>
                      <a:pt x="10283" y="20078"/>
                      <a:pt x="10241" y="20215"/>
                    </a:cubicBezTo>
                    <a:cubicBezTo>
                      <a:pt x="10146" y="20543"/>
                      <a:pt x="10042" y="20871"/>
                      <a:pt x="9938" y="21199"/>
                    </a:cubicBezTo>
                    <a:cubicBezTo>
                      <a:pt x="9847" y="21494"/>
                      <a:pt x="9730" y="21569"/>
                      <a:pt x="9427" y="21527"/>
                    </a:cubicBezTo>
                    <a:cubicBezTo>
                      <a:pt x="8970" y="21465"/>
                      <a:pt x="8916" y="21403"/>
                      <a:pt x="8912" y="20946"/>
                    </a:cubicBezTo>
                    <a:cubicBezTo>
                      <a:pt x="8908" y="20647"/>
                      <a:pt x="8895" y="20352"/>
                      <a:pt x="8887" y="20053"/>
                    </a:cubicBezTo>
                    <a:cubicBezTo>
                      <a:pt x="8883" y="19916"/>
                      <a:pt x="8829" y="19808"/>
                      <a:pt x="8700" y="19754"/>
                    </a:cubicBezTo>
                    <a:cubicBezTo>
                      <a:pt x="8505" y="19671"/>
                      <a:pt x="8305" y="19613"/>
                      <a:pt x="8093" y="19600"/>
                    </a:cubicBezTo>
                    <a:cubicBezTo>
                      <a:pt x="7965" y="19592"/>
                      <a:pt x="7873" y="19642"/>
                      <a:pt x="7803" y="19754"/>
                    </a:cubicBezTo>
                    <a:cubicBezTo>
                      <a:pt x="7624" y="20053"/>
                      <a:pt x="7433" y="20344"/>
                      <a:pt x="7250" y="20639"/>
                    </a:cubicBezTo>
                    <a:cubicBezTo>
                      <a:pt x="7105" y="20871"/>
                      <a:pt x="6993" y="20913"/>
                      <a:pt x="6735" y="20826"/>
                    </a:cubicBezTo>
                    <a:cubicBezTo>
                      <a:pt x="6722" y="20821"/>
                      <a:pt x="6710" y="20817"/>
                      <a:pt x="6698" y="20813"/>
                    </a:cubicBezTo>
                    <a:cubicBezTo>
                      <a:pt x="6299" y="20651"/>
                      <a:pt x="6220" y="20560"/>
                      <a:pt x="6324" y="20161"/>
                    </a:cubicBezTo>
                    <a:cubicBezTo>
                      <a:pt x="6403" y="19858"/>
                      <a:pt x="6461" y="19551"/>
                      <a:pt x="6535" y="19243"/>
                    </a:cubicBezTo>
                    <a:cubicBezTo>
                      <a:pt x="6573" y="19085"/>
                      <a:pt x="6531" y="18965"/>
                      <a:pt x="6398" y="18870"/>
                    </a:cubicBezTo>
                    <a:cubicBezTo>
                      <a:pt x="6257" y="18770"/>
                      <a:pt x="6112" y="18683"/>
                      <a:pt x="5954" y="18612"/>
                    </a:cubicBezTo>
                    <a:cubicBezTo>
                      <a:pt x="5804" y="18546"/>
                      <a:pt x="5675" y="18570"/>
                      <a:pt x="5551" y="18687"/>
                    </a:cubicBezTo>
                    <a:cubicBezTo>
                      <a:pt x="5302" y="18924"/>
                      <a:pt x="5048" y="19156"/>
                      <a:pt x="4799" y="19389"/>
                    </a:cubicBezTo>
                    <a:cubicBezTo>
                      <a:pt x="4612" y="19567"/>
                      <a:pt x="4491" y="19576"/>
                      <a:pt x="4271" y="19438"/>
                    </a:cubicBezTo>
                    <a:cubicBezTo>
                      <a:pt x="4246" y="19422"/>
                      <a:pt x="4221" y="19405"/>
                      <a:pt x="4196" y="19389"/>
                    </a:cubicBezTo>
                    <a:cubicBezTo>
                      <a:pt x="3877" y="19160"/>
                      <a:pt x="3847" y="19040"/>
                      <a:pt x="4030" y="18695"/>
                    </a:cubicBezTo>
                    <a:cubicBezTo>
                      <a:pt x="4180" y="18413"/>
                      <a:pt x="4325" y="18130"/>
                      <a:pt x="4479" y="17852"/>
                    </a:cubicBezTo>
                    <a:cubicBezTo>
                      <a:pt x="4558" y="17707"/>
                      <a:pt x="4545" y="17582"/>
                      <a:pt x="4446" y="17457"/>
                    </a:cubicBezTo>
                    <a:cubicBezTo>
                      <a:pt x="4338" y="17320"/>
                      <a:pt x="4213" y="17196"/>
                      <a:pt x="4072" y="17088"/>
                    </a:cubicBezTo>
                    <a:cubicBezTo>
                      <a:pt x="3947" y="16992"/>
                      <a:pt x="3823" y="16984"/>
                      <a:pt x="3685" y="17059"/>
                    </a:cubicBezTo>
                    <a:cubicBezTo>
                      <a:pt x="3378" y="17225"/>
                      <a:pt x="3066" y="17391"/>
                      <a:pt x="2751" y="17553"/>
                    </a:cubicBezTo>
                    <a:cubicBezTo>
                      <a:pt x="2530" y="17669"/>
                      <a:pt x="2402" y="17640"/>
                      <a:pt x="2240" y="17457"/>
                    </a:cubicBezTo>
                    <a:cubicBezTo>
                      <a:pt x="2227" y="17445"/>
                      <a:pt x="2219" y="17433"/>
                      <a:pt x="2206" y="17420"/>
                    </a:cubicBezTo>
                    <a:cubicBezTo>
                      <a:pt x="1920" y="17088"/>
                      <a:pt x="1924" y="16972"/>
                      <a:pt x="2227" y="16656"/>
                    </a:cubicBezTo>
                    <a:cubicBezTo>
                      <a:pt x="2439" y="16432"/>
                      <a:pt x="2638" y="16203"/>
                      <a:pt x="2854" y="15987"/>
                    </a:cubicBezTo>
                    <a:cubicBezTo>
                      <a:pt x="2963" y="15875"/>
                      <a:pt x="2983" y="15759"/>
                      <a:pt x="2929" y="15622"/>
                    </a:cubicBezTo>
                    <a:cubicBezTo>
                      <a:pt x="2859" y="15443"/>
                      <a:pt x="2759" y="15277"/>
                      <a:pt x="2643" y="15123"/>
                    </a:cubicBezTo>
                    <a:cubicBezTo>
                      <a:pt x="2547" y="14999"/>
                      <a:pt x="2418" y="14986"/>
                      <a:pt x="2281" y="15020"/>
                    </a:cubicBezTo>
                    <a:cubicBezTo>
                      <a:pt x="1978" y="15090"/>
                      <a:pt x="1679" y="15161"/>
                      <a:pt x="1375" y="15227"/>
                    </a:cubicBezTo>
                    <a:cubicBezTo>
                      <a:pt x="1334" y="15236"/>
                      <a:pt x="1292" y="15248"/>
                      <a:pt x="1255" y="15256"/>
                    </a:cubicBezTo>
                    <a:cubicBezTo>
                      <a:pt x="1026" y="15298"/>
                      <a:pt x="910" y="15244"/>
                      <a:pt x="806" y="15036"/>
                    </a:cubicBezTo>
                    <a:cubicBezTo>
                      <a:pt x="769" y="14957"/>
                      <a:pt x="731" y="14878"/>
                      <a:pt x="702" y="14795"/>
                    </a:cubicBezTo>
                    <a:cubicBezTo>
                      <a:pt x="628" y="14575"/>
                      <a:pt x="669" y="14451"/>
                      <a:pt x="869" y="14326"/>
                    </a:cubicBezTo>
                    <a:cubicBezTo>
                      <a:pt x="1151" y="14148"/>
                      <a:pt x="1438" y="13969"/>
                      <a:pt x="1720" y="13794"/>
                    </a:cubicBezTo>
                    <a:cubicBezTo>
                      <a:pt x="1945" y="13653"/>
                      <a:pt x="1978" y="13574"/>
                      <a:pt x="1924" y="13317"/>
                    </a:cubicBezTo>
                    <a:cubicBezTo>
                      <a:pt x="1891" y="13172"/>
                      <a:pt x="1853" y="13022"/>
                      <a:pt x="1795" y="12885"/>
                    </a:cubicBezTo>
                    <a:cubicBezTo>
                      <a:pt x="1737" y="12748"/>
                      <a:pt x="1637" y="12681"/>
                      <a:pt x="1483" y="12677"/>
                    </a:cubicBezTo>
                    <a:cubicBezTo>
                      <a:pt x="1147" y="12673"/>
                      <a:pt x="815" y="12661"/>
                      <a:pt x="478" y="12648"/>
                    </a:cubicBezTo>
                    <a:cubicBezTo>
                      <a:pt x="175" y="12640"/>
                      <a:pt x="83" y="12561"/>
                      <a:pt x="29" y="12270"/>
                    </a:cubicBezTo>
                    <a:cubicBezTo>
                      <a:pt x="25" y="12241"/>
                      <a:pt x="17" y="12212"/>
                      <a:pt x="13" y="12183"/>
                    </a:cubicBezTo>
                    <a:cubicBezTo>
                      <a:pt x="-33" y="11813"/>
                      <a:pt x="29" y="11718"/>
                      <a:pt x="391" y="11610"/>
                    </a:cubicBezTo>
                    <a:cubicBezTo>
                      <a:pt x="690" y="11519"/>
                      <a:pt x="989" y="11419"/>
                      <a:pt x="1292" y="11336"/>
                    </a:cubicBezTo>
                    <a:cubicBezTo>
                      <a:pt x="1459" y="11290"/>
                      <a:pt x="1546" y="11195"/>
                      <a:pt x="1562" y="11033"/>
                    </a:cubicBezTo>
                    <a:cubicBezTo>
                      <a:pt x="1579" y="10842"/>
                      <a:pt x="1587" y="10646"/>
                      <a:pt x="1550" y="10455"/>
                    </a:cubicBezTo>
                    <a:cubicBezTo>
                      <a:pt x="1529" y="10331"/>
                      <a:pt x="1459" y="10256"/>
                      <a:pt x="1338" y="10219"/>
                    </a:cubicBezTo>
                    <a:cubicBezTo>
                      <a:pt x="1018" y="10123"/>
                      <a:pt x="698" y="10024"/>
                      <a:pt x="378" y="9924"/>
                    </a:cubicBezTo>
                    <a:cubicBezTo>
                      <a:pt x="29" y="9816"/>
                      <a:pt x="-8" y="9758"/>
                      <a:pt x="13" y="9392"/>
                    </a:cubicBezTo>
                    <a:cubicBezTo>
                      <a:pt x="17" y="9318"/>
                      <a:pt x="33" y="9243"/>
                      <a:pt x="50" y="9172"/>
                    </a:cubicBezTo>
                    <a:cubicBezTo>
                      <a:pt x="100" y="8989"/>
                      <a:pt x="204" y="8906"/>
                      <a:pt x="395" y="8898"/>
                    </a:cubicBezTo>
                    <a:cubicBezTo>
                      <a:pt x="707" y="8886"/>
                      <a:pt x="1014" y="8877"/>
                      <a:pt x="1326" y="8869"/>
                    </a:cubicBezTo>
                    <a:cubicBezTo>
                      <a:pt x="1371" y="8869"/>
                      <a:pt x="1417" y="8865"/>
                      <a:pt x="1463" y="8865"/>
                    </a:cubicBezTo>
                    <a:cubicBezTo>
                      <a:pt x="1670" y="8873"/>
                      <a:pt x="1778" y="8757"/>
                      <a:pt x="1832" y="8574"/>
                    </a:cubicBezTo>
                    <a:cubicBezTo>
                      <a:pt x="1874" y="8437"/>
                      <a:pt x="1911" y="8300"/>
                      <a:pt x="1940" y="8163"/>
                    </a:cubicBezTo>
                    <a:cubicBezTo>
                      <a:pt x="1978" y="7972"/>
                      <a:pt x="1932" y="7881"/>
                      <a:pt x="1766" y="7773"/>
                    </a:cubicBezTo>
                    <a:cubicBezTo>
                      <a:pt x="1483" y="7594"/>
                      <a:pt x="1197" y="7415"/>
                      <a:pt x="914" y="7241"/>
                    </a:cubicBezTo>
                    <a:cubicBezTo>
                      <a:pt x="661" y="7083"/>
                      <a:pt x="623" y="6983"/>
                      <a:pt x="723" y="6697"/>
                    </a:cubicBezTo>
                    <a:cubicBezTo>
                      <a:pt x="752" y="6606"/>
                      <a:pt x="790" y="6514"/>
                      <a:pt x="844" y="6435"/>
                    </a:cubicBezTo>
                    <a:cubicBezTo>
                      <a:pt x="931" y="6302"/>
                      <a:pt x="1051" y="6236"/>
                      <a:pt x="1218" y="6277"/>
                    </a:cubicBezTo>
                    <a:cubicBezTo>
                      <a:pt x="1571" y="6361"/>
                      <a:pt x="1928" y="6435"/>
                      <a:pt x="2281" y="6523"/>
                    </a:cubicBezTo>
                    <a:cubicBezTo>
                      <a:pt x="2443" y="6564"/>
                      <a:pt x="2568" y="6527"/>
                      <a:pt x="2668" y="6394"/>
                    </a:cubicBezTo>
                    <a:cubicBezTo>
                      <a:pt x="2771" y="6253"/>
                      <a:pt x="2863" y="6099"/>
                      <a:pt x="2929" y="5937"/>
                    </a:cubicBezTo>
                    <a:cubicBezTo>
                      <a:pt x="2987" y="5792"/>
                      <a:pt x="2971" y="5667"/>
                      <a:pt x="2854" y="5547"/>
                    </a:cubicBezTo>
                    <a:cubicBezTo>
                      <a:pt x="2614" y="5302"/>
                      <a:pt x="2385" y="5048"/>
                      <a:pt x="2148" y="4795"/>
                    </a:cubicBezTo>
                    <a:cubicBezTo>
                      <a:pt x="1965" y="4595"/>
                      <a:pt x="1957" y="4483"/>
                      <a:pt x="2107" y="4259"/>
                    </a:cubicBezTo>
                    <a:cubicBezTo>
                      <a:pt x="2132" y="4226"/>
                      <a:pt x="2152" y="4188"/>
                      <a:pt x="2177" y="4155"/>
                    </a:cubicBezTo>
                    <a:cubicBezTo>
                      <a:pt x="2389" y="3877"/>
                      <a:pt x="2505" y="3852"/>
                      <a:pt x="2817" y="4014"/>
                    </a:cubicBezTo>
                    <a:cubicBezTo>
                      <a:pt x="3108" y="4168"/>
                      <a:pt x="3399" y="4317"/>
                      <a:pt x="3681" y="4475"/>
                    </a:cubicBezTo>
                    <a:cubicBezTo>
                      <a:pt x="3831" y="4558"/>
                      <a:pt x="3964" y="4542"/>
                      <a:pt x="4088" y="4438"/>
                    </a:cubicBezTo>
                    <a:cubicBezTo>
                      <a:pt x="4213" y="4334"/>
                      <a:pt x="4329" y="4218"/>
                      <a:pt x="4437" y="4093"/>
                    </a:cubicBezTo>
                    <a:cubicBezTo>
                      <a:pt x="4545" y="3964"/>
                      <a:pt x="4570" y="3835"/>
                      <a:pt x="4483" y="3678"/>
                    </a:cubicBezTo>
                    <a:cubicBezTo>
                      <a:pt x="4309" y="3366"/>
                      <a:pt x="4147" y="3051"/>
                      <a:pt x="3980" y="2735"/>
                    </a:cubicBezTo>
                    <a:cubicBezTo>
                      <a:pt x="3872" y="2527"/>
                      <a:pt x="3897" y="2415"/>
                      <a:pt x="4068" y="2257"/>
                    </a:cubicBezTo>
                    <a:cubicBezTo>
                      <a:pt x="4147" y="2183"/>
                      <a:pt x="4234" y="2120"/>
                      <a:pt x="4329" y="2062"/>
                    </a:cubicBezTo>
                    <a:cubicBezTo>
                      <a:pt x="4496" y="1967"/>
                      <a:pt x="4612" y="1979"/>
                      <a:pt x="4753" y="2108"/>
                    </a:cubicBezTo>
                    <a:cubicBezTo>
                      <a:pt x="4994" y="2328"/>
                      <a:pt x="5235" y="2552"/>
                      <a:pt x="5472" y="2776"/>
                    </a:cubicBezTo>
                    <a:cubicBezTo>
                      <a:pt x="5721" y="3013"/>
                      <a:pt x="5775" y="3021"/>
                      <a:pt x="6078" y="2864"/>
                    </a:cubicBezTo>
                    <a:cubicBezTo>
                      <a:pt x="6199" y="2801"/>
                      <a:pt x="6311" y="2735"/>
                      <a:pt x="6419" y="2652"/>
                    </a:cubicBezTo>
                    <a:cubicBezTo>
                      <a:pt x="6535" y="2556"/>
                      <a:pt x="6573" y="2444"/>
                      <a:pt x="6535" y="2295"/>
                    </a:cubicBezTo>
                    <a:cubicBezTo>
                      <a:pt x="6448" y="1950"/>
                      <a:pt x="6373" y="1601"/>
                      <a:pt x="6295" y="1256"/>
                    </a:cubicBezTo>
                    <a:cubicBezTo>
                      <a:pt x="6245" y="1032"/>
                      <a:pt x="6299" y="920"/>
                      <a:pt x="6498" y="812"/>
                    </a:cubicBezTo>
                    <a:cubicBezTo>
                      <a:pt x="6590" y="766"/>
                      <a:pt x="6681" y="729"/>
                      <a:pt x="6776" y="696"/>
                    </a:cubicBezTo>
                    <a:cubicBezTo>
                      <a:pt x="6980" y="633"/>
                      <a:pt x="7096" y="671"/>
                      <a:pt x="7217" y="854"/>
                    </a:cubicBezTo>
                    <a:cubicBezTo>
                      <a:pt x="7408" y="1148"/>
                      <a:pt x="7599" y="1443"/>
                      <a:pt x="7774" y="1751"/>
                    </a:cubicBezTo>
                    <a:cubicBezTo>
                      <a:pt x="7865" y="1908"/>
                      <a:pt x="7990" y="1962"/>
                      <a:pt x="8160" y="1938"/>
                    </a:cubicBezTo>
                    <a:cubicBezTo>
                      <a:pt x="8339" y="1908"/>
                      <a:pt x="8513" y="1863"/>
                      <a:pt x="8679" y="1792"/>
                    </a:cubicBezTo>
                    <a:cubicBezTo>
                      <a:pt x="8800" y="1738"/>
                      <a:pt x="8866" y="1655"/>
                      <a:pt x="8870" y="1514"/>
                    </a:cubicBezTo>
                    <a:cubicBezTo>
                      <a:pt x="8879" y="1153"/>
                      <a:pt x="8899" y="795"/>
                      <a:pt x="8912" y="434"/>
                    </a:cubicBezTo>
                    <a:cubicBezTo>
                      <a:pt x="8920" y="202"/>
                      <a:pt x="8995" y="102"/>
                      <a:pt x="9219" y="40"/>
                    </a:cubicBezTo>
                    <a:cubicBezTo>
                      <a:pt x="9257" y="31"/>
                      <a:pt x="9294" y="19"/>
                      <a:pt x="9332" y="15"/>
                    </a:cubicBezTo>
                    <a:cubicBezTo>
                      <a:pt x="9743" y="-31"/>
                      <a:pt x="9843" y="15"/>
                      <a:pt x="9951" y="393"/>
                    </a:cubicBezTo>
                    <a:cubicBezTo>
                      <a:pt x="10038" y="700"/>
                      <a:pt x="10142" y="999"/>
                      <a:pt x="10225" y="1306"/>
                    </a:cubicBezTo>
                    <a:cubicBezTo>
                      <a:pt x="10266" y="1452"/>
                      <a:pt x="10354" y="1531"/>
                      <a:pt x="10495" y="1551"/>
                    </a:cubicBezTo>
                    <a:cubicBezTo>
                      <a:pt x="10690" y="1576"/>
                      <a:pt x="10890" y="1576"/>
                      <a:pt x="11085" y="1551"/>
                    </a:cubicBezTo>
                    <a:cubicBezTo>
                      <a:pt x="11222" y="1535"/>
                      <a:pt x="11305" y="1452"/>
                      <a:pt x="11347" y="1315"/>
                    </a:cubicBezTo>
                    <a:cubicBezTo>
                      <a:pt x="11446" y="978"/>
                      <a:pt x="11550" y="642"/>
                      <a:pt x="11654" y="305"/>
                    </a:cubicBezTo>
                    <a:cubicBezTo>
                      <a:pt x="11733" y="56"/>
                      <a:pt x="11812" y="-2"/>
                      <a:pt x="12074" y="2"/>
                    </a:cubicBezTo>
                    <a:cubicBezTo>
                      <a:pt x="12111" y="2"/>
                      <a:pt x="12148" y="2"/>
                      <a:pt x="12186" y="6"/>
                    </a:cubicBezTo>
                    <a:cubicBezTo>
                      <a:pt x="12556" y="44"/>
                      <a:pt x="12659" y="156"/>
                      <a:pt x="12668" y="526"/>
                    </a:cubicBezTo>
                    <a:cubicBezTo>
                      <a:pt x="12676" y="849"/>
                      <a:pt x="12689" y="1169"/>
                      <a:pt x="12697" y="1493"/>
                    </a:cubicBezTo>
                    <a:cubicBezTo>
                      <a:pt x="12701" y="1622"/>
                      <a:pt x="12747" y="1722"/>
                      <a:pt x="12867" y="1776"/>
                    </a:cubicBezTo>
                    <a:cubicBezTo>
                      <a:pt x="13062" y="1863"/>
                      <a:pt x="13266" y="1921"/>
                      <a:pt x="13482" y="1938"/>
                    </a:cubicBezTo>
                    <a:cubicBezTo>
                      <a:pt x="13615" y="1946"/>
                      <a:pt x="13706" y="1892"/>
                      <a:pt x="13773" y="1784"/>
                    </a:cubicBezTo>
                    <a:cubicBezTo>
                      <a:pt x="13956" y="1489"/>
                      <a:pt x="14143" y="1194"/>
                      <a:pt x="14325" y="899"/>
                    </a:cubicBezTo>
                    <a:cubicBezTo>
                      <a:pt x="14483" y="650"/>
                      <a:pt x="14579" y="617"/>
                      <a:pt x="14861" y="712"/>
                    </a:cubicBezTo>
                    <a:cubicBezTo>
                      <a:pt x="14895" y="725"/>
                      <a:pt x="14924" y="733"/>
                      <a:pt x="14957" y="746"/>
                    </a:cubicBezTo>
                    <a:cubicBezTo>
                      <a:pt x="15285" y="887"/>
                      <a:pt x="15339" y="991"/>
                      <a:pt x="15260" y="1340"/>
                    </a:cubicBezTo>
                    <a:cubicBezTo>
                      <a:pt x="15190" y="1651"/>
                      <a:pt x="15119" y="1958"/>
                      <a:pt x="15044" y="2270"/>
                    </a:cubicBezTo>
                    <a:cubicBezTo>
                      <a:pt x="15003" y="2440"/>
                      <a:pt x="15044" y="2573"/>
                      <a:pt x="15194" y="2673"/>
                    </a:cubicBezTo>
                    <a:cubicBezTo>
                      <a:pt x="15347" y="2776"/>
                      <a:pt x="15501" y="2872"/>
                      <a:pt x="15676" y="2938"/>
                    </a:cubicBezTo>
                    <a:cubicBezTo>
                      <a:pt x="15800" y="2984"/>
                      <a:pt x="15900" y="2955"/>
                      <a:pt x="15996" y="2864"/>
                    </a:cubicBezTo>
                    <a:cubicBezTo>
                      <a:pt x="16249" y="2623"/>
                      <a:pt x="16502" y="2390"/>
                      <a:pt x="16760" y="2154"/>
                    </a:cubicBezTo>
                    <a:cubicBezTo>
                      <a:pt x="16972" y="1954"/>
                      <a:pt x="17088" y="1946"/>
                      <a:pt x="17325" y="2108"/>
                    </a:cubicBezTo>
                    <a:cubicBezTo>
                      <a:pt x="17338" y="2116"/>
                      <a:pt x="17346" y="2120"/>
                      <a:pt x="17354" y="2129"/>
                    </a:cubicBezTo>
                    <a:cubicBezTo>
                      <a:pt x="17757" y="2419"/>
                      <a:pt x="17699" y="2544"/>
                      <a:pt x="17533" y="2847"/>
                    </a:cubicBezTo>
                    <a:cubicBezTo>
                      <a:pt x="17383" y="3121"/>
                      <a:pt x="17242" y="3404"/>
                      <a:pt x="17088" y="3678"/>
                    </a:cubicBezTo>
                    <a:cubicBezTo>
                      <a:pt x="17009" y="3823"/>
                      <a:pt x="17026" y="3948"/>
                      <a:pt x="17126" y="4072"/>
                    </a:cubicBezTo>
                    <a:cubicBezTo>
                      <a:pt x="17238" y="4209"/>
                      <a:pt x="17363" y="4334"/>
                      <a:pt x="17500" y="4442"/>
                    </a:cubicBezTo>
                    <a:cubicBezTo>
                      <a:pt x="17616" y="4533"/>
                      <a:pt x="17736" y="4546"/>
                      <a:pt x="17874" y="4475"/>
                    </a:cubicBezTo>
                    <a:cubicBezTo>
                      <a:pt x="18185" y="4305"/>
                      <a:pt x="18501" y="4139"/>
                      <a:pt x="18817" y="3977"/>
                    </a:cubicBezTo>
                    <a:cubicBezTo>
                      <a:pt x="19041" y="3860"/>
                      <a:pt x="19170" y="3885"/>
                      <a:pt x="19332" y="4085"/>
                    </a:cubicBezTo>
                    <a:cubicBezTo>
                      <a:pt x="19390" y="4151"/>
                      <a:pt x="19444" y="4222"/>
                      <a:pt x="19490" y="4296"/>
                    </a:cubicBezTo>
                    <a:cubicBezTo>
                      <a:pt x="19606" y="4479"/>
                      <a:pt x="19594" y="4600"/>
                      <a:pt x="19448" y="4762"/>
                    </a:cubicBezTo>
                    <a:cubicBezTo>
                      <a:pt x="19199" y="5032"/>
                      <a:pt x="18950" y="5306"/>
                      <a:pt x="18696" y="5571"/>
                    </a:cubicBezTo>
                    <a:cubicBezTo>
                      <a:pt x="18601" y="5671"/>
                      <a:pt x="18580" y="5779"/>
                      <a:pt x="18630" y="5904"/>
                    </a:cubicBezTo>
                    <a:cubicBezTo>
                      <a:pt x="18704" y="6082"/>
                      <a:pt x="18796" y="6248"/>
                      <a:pt x="18916" y="6402"/>
                    </a:cubicBezTo>
                    <a:cubicBezTo>
                      <a:pt x="19012" y="6527"/>
                      <a:pt x="19128" y="6560"/>
                      <a:pt x="19282" y="6523"/>
                    </a:cubicBezTo>
                    <a:cubicBezTo>
                      <a:pt x="19635" y="6435"/>
                      <a:pt x="19992" y="6356"/>
                      <a:pt x="20346" y="6282"/>
                    </a:cubicBezTo>
                    <a:cubicBezTo>
                      <a:pt x="20532" y="6240"/>
                      <a:pt x="20645" y="6294"/>
                      <a:pt x="20740" y="6464"/>
                    </a:cubicBezTo>
                    <a:cubicBezTo>
                      <a:pt x="20790" y="6556"/>
                      <a:pt x="20832" y="6651"/>
                      <a:pt x="20865" y="6751"/>
                    </a:cubicBezTo>
                    <a:cubicBezTo>
                      <a:pt x="20935" y="6979"/>
                      <a:pt x="20898" y="7087"/>
                      <a:pt x="20695" y="7216"/>
                    </a:cubicBezTo>
                    <a:cubicBezTo>
                      <a:pt x="20404" y="7399"/>
                      <a:pt x="20117" y="7590"/>
                      <a:pt x="19818" y="7760"/>
                    </a:cubicBezTo>
                    <a:cubicBezTo>
                      <a:pt x="19648" y="7860"/>
                      <a:pt x="19602" y="7993"/>
                      <a:pt x="19631" y="8167"/>
                    </a:cubicBezTo>
                    <a:cubicBezTo>
                      <a:pt x="19656" y="8329"/>
                      <a:pt x="19702" y="8487"/>
                      <a:pt x="19760" y="8641"/>
                    </a:cubicBezTo>
                    <a:cubicBezTo>
                      <a:pt x="19814" y="8782"/>
                      <a:pt x="19909" y="8857"/>
                      <a:pt x="20071" y="8861"/>
                    </a:cubicBezTo>
                    <a:cubicBezTo>
                      <a:pt x="20437" y="8865"/>
                      <a:pt x="20798" y="8890"/>
                      <a:pt x="21164" y="8902"/>
                    </a:cubicBezTo>
                    <a:cubicBezTo>
                      <a:pt x="21363" y="8911"/>
                      <a:pt x="21463" y="8989"/>
                      <a:pt x="21517" y="9180"/>
                    </a:cubicBezTo>
                    <a:cubicBezTo>
                      <a:pt x="21550" y="9288"/>
                      <a:pt x="21563" y="9401"/>
                      <a:pt x="21563" y="9517"/>
                    </a:cubicBezTo>
                    <a:cubicBezTo>
                      <a:pt x="21563" y="9741"/>
                      <a:pt x="21501" y="9832"/>
                      <a:pt x="21293" y="9899"/>
                    </a:cubicBezTo>
                    <a:cubicBezTo>
                      <a:pt x="20965" y="10003"/>
                      <a:pt x="20636" y="10102"/>
                      <a:pt x="20308" y="10202"/>
                    </a:cubicBezTo>
                    <a:cubicBezTo>
                      <a:pt x="20071" y="10273"/>
                      <a:pt x="20009" y="10347"/>
                      <a:pt x="20001" y="10592"/>
                    </a:cubicBezTo>
                    <a:cubicBezTo>
                      <a:pt x="19997" y="10763"/>
                      <a:pt x="19984" y="10937"/>
                      <a:pt x="20021" y="11107"/>
                    </a:cubicBezTo>
                    <a:cubicBezTo>
                      <a:pt x="20046" y="11224"/>
                      <a:pt x="20117" y="11294"/>
                      <a:pt x="20233" y="11332"/>
                    </a:cubicBezTo>
                    <a:cubicBezTo>
                      <a:pt x="20578" y="11436"/>
                      <a:pt x="20923" y="11539"/>
                      <a:pt x="21268" y="11647"/>
                    </a:cubicBezTo>
                    <a:cubicBezTo>
                      <a:pt x="21509" y="11722"/>
                      <a:pt x="21567" y="11805"/>
                      <a:pt x="21563" y="12059"/>
                    </a:cubicBezTo>
                    <a:cubicBezTo>
                      <a:pt x="21563" y="12083"/>
                      <a:pt x="21563" y="12108"/>
                      <a:pt x="21563" y="12133"/>
                    </a:cubicBezTo>
                    <a:cubicBezTo>
                      <a:pt x="21546" y="12524"/>
                      <a:pt x="21422" y="12648"/>
                      <a:pt x="21031" y="12661"/>
                    </a:cubicBezTo>
                    <a:cubicBezTo>
                      <a:pt x="20703" y="12669"/>
                      <a:pt x="20379" y="12686"/>
                      <a:pt x="20051" y="12690"/>
                    </a:cubicBezTo>
                    <a:cubicBezTo>
                      <a:pt x="19926" y="12694"/>
                      <a:pt x="19839" y="12748"/>
                      <a:pt x="19789" y="12852"/>
                    </a:cubicBezTo>
                    <a:cubicBezTo>
                      <a:pt x="19697" y="13047"/>
                      <a:pt x="19639" y="13250"/>
                      <a:pt x="19623" y="13466"/>
                    </a:cubicBezTo>
                    <a:cubicBezTo>
                      <a:pt x="19610" y="13603"/>
                      <a:pt x="19668" y="13695"/>
                      <a:pt x="19785" y="13765"/>
                    </a:cubicBezTo>
                    <a:cubicBezTo>
                      <a:pt x="20075" y="13944"/>
                      <a:pt x="20362" y="14123"/>
                      <a:pt x="20649" y="14305"/>
                    </a:cubicBezTo>
                    <a:cubicBezTo>
                      <a:pt x="20911" y="14467"/>
                      <a:pt x="20944" y="14567"/>
                      <a:pt x="20844" y="14858"/>
                    </a:cubicBezTo>
                    <a:cubicBezTo>
                      <a:pt x="20811" y="14957"/>
                      <a:pt x="20765" y="15053"/>
                      <a:pt x="20707" y="15140"/>
                    </a:cubicBezTo>
                    <a:cubicBezTo>
                      <a:pt x="20653" y="15219"/>
                      <a:pt x="20566" y="15273"/>
                      <a:pt x="20441" y="15273"/>
                    </a:cubicBezTo>
                    <a:close/>
                    <a:moveTo>
                      <a:pt x="10777" y="18616"/>
                    </a:moveTo>
                    <a:cubicBezTo>
                      <a:pt x="15053" y="18633"/>
                      <a:pt x="18659" y="15194"/>
                      <a:pt x="18655" y="10750"/>
                    </a:cubicBezTo>
                    <a:cubicBezTo>
                      <a:pt x="18650" y="6381"/>
                      <a:pt x="15144" y="2897"/>
                      <a:pt x="10790" y="2893"/>
                    </a:cubicBezTo>
                    <a:cubicBezTo>
                      <a:pt x="6411" y="2889"/>
                      <a:pt x="2929" y="6398"/>
                      <a:pt x="2913" y="10721"/>
                    </a:cubicBezTo>
                    <a:cubicBezTo>
                      <a:pt x="2896" y="15148"/>
                      <a:pt x="6490" y="18629"/>
                      <a:pt x="10777" y="18616"/>
                    </a:cubicBezTo>
                    <a:close/>
                  </a:path>
                </a:pathLst>
              </a:custGeom>
              <a:solidFill>
                <a:srgbClr val="FFFFFF"/>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latin typeface="Verdana"/>
                    <a:ea typeface="Verdana"/>
                    <a:cs typeface="Verdana"/>
                    <a:sym typeface="Verdana"/>
                  </a:defRPr>
                </a:pPr>
                <a:endParaRPr kumimoji="0" sz="1300" b="0" i="0" u="none" strike="noStrike" kern="1200" cap="none" spc="0" normalizeH="0" baseline="0" noProof="0">
                  <a:ln>
                    <a:noFill/>
                  </a:ln>
                  <a:solidFill>
                    <a:srgbClr val="000000"/>
                  </a:solidFill>
                  <a:effectLst/>
                  <a:uLnTx/>
                  <a:uFillTx/>
                  <a:latin typeface="Verdana"/>
                  <a:ea typeface="Verdana"/>
                  <a:cs typeface="Verdana"/>
                  <a:sym typeface="Verdana"/>
                </a:endParaRPr>
              </a:p>
            </p:txBody>
          </p:sp>
          <p:sp>
            <p:nvSpPr>
              <p:cNvPr id="86" name="Freeform: Shape 24">
                <a:extLst>
                  <a:ext uri="{FF2B5EF4-FFF2-40B4-BE49-F238E27FC236}">
                    <a16:creationId xmlns:a16="http://schemas.microsoft.com/office/drawing/2014/main" id="{E2BAB9B7-CBBC-4AF7-944E-B6F1C6325F37}"/>
                  </a:ext>
                </a:extLst>
              </p:cNvPr>
              <p:cNvSpPr/>
              <p:nvPr/>
            </p:nvSpPr>
            <p:spPr>
              <a:xfrm rot="20269720">
                <a:off x="436591" y="436609"/>
                <a:ext cx="885533" cy="885279"/>
              </a:xfrm>
              <a:custGeom>
                <a:avLst/>
                <a:gdLst/>
                <a:ahLst/>
                <a:cxnLst>
                  <a:cxn ang="0">
                    <a:pos x="wd2" y="hd2"/>
                  </a:cxn>
                  <a:cxn ang="5400000">
                    <a:pos x="wd2" y="hd2"/>
                  </a:cxn>
                  <a:cxn ang="10800000">
                    <a:pos x="wd2" y="hd2"/>
                  </a:cxn>
                  <a:cxn ang="16200000">
                    <a:pos x="wd2" y="hd2"/>
                  </a:cxn>
                </a:cxnLst>
                <a:rect l="0" t="0" r="r" b="b"/>
                <a:pathLst>
                  <a:path w="21542" h="21577" extrusionOk="0">
                    <a:moveTo>
                      <a:pt x="1" y="10773"/>
                    </a:moveTo>
                    <a:cubicBezTo>
                      <a:pt x="-34" y="4867"/>
                      <a:pt x="4836" y="-12"/>
                      <a:pt x="10783" y="0"/>
                    </a:cubicBezTo>
                    <a:cubicBezTo>
                      <a:pt x="16701" y="11"/>
                      <a:pt x="21554" y="4862"/>
                      <a:pt x="21542" y="10809"/>
                    </a:cubicBezTo>
                    <a:cubicBezTo>
                      <a:pt x="21531" y="16691"/>
                      <a:pt x="16766" y="21588"/>
                      <a:pt x="10742" y="21576"/>
                    </a:cubicBezTo>
                    <a:cubicBezTo>
                      <a:pt x="4672" y="21559"/>
                      <a:pt x="-46" y="16597"/>
                      <a:pt x="1" y="10773"/>
                    </a:cubicBezTo>
                    <a:close/>
                    <a:moveTo>
                      <a:pt x="13476" y="10797"/>
                    </a:moveTo>
                    <a:cubicBezTo>
                      <a:pt x="13482" y="9290"/>
                      <a:pt x="12299" y="8076"/>
                      <a:pt x="10772" y="8076"/>
                    </a:cubicBezTo>
                    <a:cubicBezTo>
                      <a:pt x="9144" y="8076"/>
                      <a:pt x="8055" y="9413"/>
                      <a:pt x="8061" y="10779"/>
                    </a:cubicBezTo>
                    <a:cubicBezTo>
                      <a:pt x="8067" y="12292"/>
                      <a:pt x="9255" y="13506"/>
                      <a:pt x="10760" y="13506"/>
                    </a:cubicBezTo>
                    <a:cubicBezTo>
                      <a:pt x="12264" y="13506"/>
                      <a:pt x="13470" y="12310"/>
                      <a:pt x="13476" y="10797"/>
                    </a:cubicBezTo>
                    <a:close/>
                  </a:path>
                </a:pathLst>
              </a:custGeom>
              <a:solidFill>
                <a:srgbClr val="FFFFFF"/>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latin typeface="Verdana"/>
                    <a:ea typeface="Verdana"/>
                    <a:cs typeface="Verdana"/>
                    <a:sym typeface="Verdana"/>
                  </a:defRPr>
                </a:pPr>
                <a:endParaRPr kumimoji="0" sz="1300" b="0" i="0" u="none" strike="noStrike" kern="1200" cap="none" spc="0" normalizeH="0" baseline="0" noProof="0">
                  <a:ln>
                    <a:noFill/>
                  </a:ln>
                  <a:solidFill>
                    <a:srgbClr val="000000"/>
                  </a:solidFill>
                  <a:effectLst/>
                  <a:uLnTx/>
                  <a:uFillTx/>
                  <a:latin typeface="Verdana"/>
                  <a:ea typeface="Verdana"/>
                  <a:cs typeface="Verdana"/>
                  <a:sym typeface="Verdana"/>
                </a:endParaRPr>
              </a:p>
            </p:txBody>
          </p:sp>
        </p:grpSp>
        <p:grpSp>
          <p:nvGrpSpPr>
            <p:cNvPr id="31" name="Group 13">
              <a:extLst>
                <a:ext uri="{FF2B5EF4-FFF2-40B4-BE49-F238E27FC236}">
                  <a16:creationId xmlns:a16="http://schemas.microsoft.com/office/drawing/2014/main" id="{2AB0F88D-4223-4C2B-81FB-89CFE2F2CBD1}"/>
                </a:ext>
              </a:extLst>
            </p:cNvPr>
            <p:cNvGrpSpPr/>
            <p:nvPr/>
          </p:nvGrpSpPr>
          <p:grpSpPr>
            <a:xfrm>
              <a:off x="4915443" y="7134186"/>
              <a:ext cx="566504" cy="1498903"/>
              <a:chOff x="0" y="0"/>
              <a:chExt cx="566503" cy="1498902"/>
            </a:xfrm>
          </p:grpSpPr>
          <p:sp>
            <p:nvSpPr>
              <p:cNvPr id="80" name="Trapezoid 14">
                <a:extLst>
                  <a:ext uri="{FF2B5EF4-FFF2-40B4-BE49-F238E27FC236}">
                    <a16:creationId xmlns:a16="http://schemas.microsoft.com/office/drawing/2014/main" id="{AAFED084-4073-4F52-9540-1CE9628C5C4B}"/>
                  </a:ext>
                </a:extLst>
              </p:cNvPr>
              <p:cNvSpPr/>
              <p:nvPr/>
            </p:nvSpPr>
            <p:spPr>
              <a:xfrm rot="11567562">
                <a:off x="51012" y="547559"/>
                <a:ext cx="286929" cy="18879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760" y="0"/>
                    </a:lnTo>
                    <a:lnTo>
                      <a:pt x="19840" y="0"/>
                    </a:lnTo>
                    <a:lnTo>
                      <a:pt x="21600" y="21600"/>
                    </a:lnTo>
                    <a:close/>
                  </a:path>
                </a:pathLst>
              </a:custGeom>
              <a:solidFill>
                <a:srgbClr val="09556E"/>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solidFill>
                      <a:srgbClr val="FFFFFF"/>
                    </a:solidFill>
                    <a:latin typeface="Verdana"/>
                    <a:ea typeface="Verdana"/>
                    <a:cs typeface="Verdana"/>
                    <a:sym typeface="Verdana"/>
                  </a:defRPr>
                </a:pPr>
                <a:endParaRPr kumimoji="0" sz="1300" b="0" i="0" u="none" strike="noStrike" kern="1200" cap="none" spc="0" normalizeH="0" baseline="0" noProof="0">
                  <a:ln>
                    <a:noFill/>
                  </a:ln>
                  <a:solidFill>
                    <a:srgbClr val="FFFFFF"/>
                  </a:solidFill>
                  <a:effectLst/>
                  <a:uLnTx/>
                  <a:uFillTx/>
                  <a:latin typeface="Verdana"/>
                  <a:ea typeface="Verdana"/>
                  <a:cs typeface="Verdana"/>
                  <a:sym typeface="Verdana"/>
                </a:endParaRPr>
              </a:p>
            </p:txBody>
          </p:sp>
          <p:sp>
            <p:nvSpPr>
              <p:cNvPr id="81" name="Trapezoid 15">
                <a:extLst>
                  <a:ext uri="{FF2B5EF4-FFF2-40B4-BE49-F238E27FC236}">
                    <a16:creationId xmlns:a16="http://schemas.microsoft.com/office/drawing/2014/main" id="{BF7D25EB-732A-471F-8247-44E11C26B133}"/>
                  </a:ext>
                </a:extLst>
              </p:cNvPr>
              <p:cNvSpPr/>
              <p:nvPr/>
            </p:nvSpPr>
            <p:spPr>
              <a:xfrm rot="11567562">
                <a:off x="54669" y="38195"/>
                <a:ext cx="405456" cy="539256"/>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675" y="0"/>
                    </a:lnTo>
                    <a:lnTo>
                      <a:pt x="18925" y="0"/>
                    </a:lnTo>
                    <a:lnTo>
                      <a:pt x="21600" y="21600"/>
                    </a:lnTo>
                    <a:close/>
                  </a:path>
                </a:pathLst>
              </a:custGeom>
              <a:solidFill>
                <a:srgbClr val="12ABDB"/>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solidFill>
                      <a:srgbClr val="FFFFFF"/>
                    </a:solidFill>
                    <a:latin typeface="Verdana"/>
                    <a:ea typeface="Verdana"/>
                    <a:cs typeface="Verdana"/>
                    <a:sym typeface="Verdana"/>
                  </a:defRPr>
                </a:pPr>
                <a:endParaRPr kumimoji="0" sz="1300" b="0" i="0" u="none" strike="noStrike" kern="1200" cap="none" spc="0" normalizeH="0" baseline="0" noProof="0">
                  <a:ln>
                    <a:noFill/>
                  </a:ln>
                  <a:solidFill>
                    <a:srgbClr val="FFFFFF"/>
                  </a:solidFill>
                  <a:effectLst/>
                  <a:uLnTx/>
                  <a:uFillTx/>
                  <a:latin typeface="Verdana"/>
                  <a:ea typeface="Verdana"/>
                  <a:cs typeface="Verdana"/>
                  <a:sym typeface="Verdana"/>
                </a:endParaRPr>
              </a:p>
            </p:txBody>
          </p:sp>
          <p:sp>
            <p:nvSpPr>
              <p:cNvPr id="82" name="Trapezoid 16">
                <a:extLst>
                  <a:ext uri="{FF2B5EF4-FFF2-40B4-BE49-F238E27FC236}">
                    <a16:creationId xmlns:a16="http://schemas.microsoft.com/office/drawing/2014/main" id="{92F1606D-FD59-48A7-A832-232C53C84995}"/>
                  </a:ext>
                </a:extLst>
              </p:cNvPr>
              <p:cNvSpPr/>
              <p:nvPr/>
            </p:nvSpPr>
            <p:spPr>
              <a:xfrm rot="10202263">
                <a:off x="164248" y="1019924"/>
                <a:ext cx="209345" cy="19589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503" y="0"/>
                    </a:lnTo>
                    <a:lnTo>
                      <a:pt x="19097" y="0"/>
                    </a:lnTo>
                    <a:lnTo>
                      <a:pt x="21600" y="21600"/>
                    </a:lnTo>
                    <a:close/>
                  </a:path>
                </a:pathLst>
              </a:custGeom>
              <a:solidFill>
                <a:srgbClr val="09556E"/>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solidFill>
                      <a:srgbClr val="FFFFFF"/>
                    </a:solidFill>
                    <a:latin typeface="Verdana"/>
                    <a:ea typeface="Verdana"/>
                    <a:cs typeface="Verdana"/>
                    <a:sym typeface="Verdana"/>
                  </a:defRPr>
                </a:pPr>
                <a:endParaRPr kumimoji="0" sz="1300" b="0" i="0" u="none" strike="noStrike" kern="1200" cap="none" spc="0" normalizeH="0" baseline="0" noProof="0">
                  <a:ln>
                    <a:noFill/>
                  </a:ln>
                  <a:solidFill>
                    <a:srgbClr val="FFFFFF"/>
                  </a:solidFill>
                  <a:effectLst/>
                  <a:uLnTx/>
                  <a:uFillTx/>
                  <a:latin typeface="Verdana"/>
                  <a:ea typeface="Verdana"/>
                  <a:cs typeface="Verdana"/>
                  <a:sym typeface="Verdana"/>
                </a:endParaRPr>
              </a:p>
            </p:txBody>
          </p:sp>
          <p:sp>
            <p:nvSpPr>
              <p:cNvPr id="83" name="Trapezoid 17">
                <a:extLst>
                  <a:ext uri="{FF2B5EF4-FFF2-40B4-BE49-F238E27FC236}">
                    <a16:creationId xmlns:a16="http://schemas.microsoft.com/office/drawing/2014/main" id="{B44E9ABD-A1D2-4193-B210-8D7B0D06F1B7}"/>
                  </a:ext>
                </a:extLst>
              </p:cNvPr>
              <p:cNvSpPr/>
              <p:nvPr/>
            </p:nvSpPr>
            <p:spPr>
              <a:xfrm rot="10202263">
                <a:off x="73262" y="666102"/>
                <a:ext cx="295823" cy="39344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675" y="0"/>
                    </a:lnTo>
                    <a:lnTo>
                      <a:pt x="18925" y="0"/>
                    </a:lnTo>
                    <a:lnTo>
                      <a:pt x="21600" y="21600"/>
                    </a:lnTo>
                    <a:close/>
                  </a:path>
                </a:pathLst>
              </a:custGeom>
              <a:solidFill>
                <a:srgbClr val="12ABDB"/>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solidFill>
                      <a:srgbClr val="FFFFFF"/>
                    </a:solidFill>
                    <a:latin typeface="Verdana"/>
                    <a:ea typeface="Verdana"/>
                    <a:cs typeface="Verdana"/>
                    <a:sym typeface="Verdana"/>
                  </a:defRPr>
                </a:pPr>
                <a:endParaRPr kumimoji="0" sz="1300" b="0" i="0" u="none" strike="noStrike" kern="1200" cap="none" spc="0" normalizeH="0" baseline="0" noProof="0">
                  <a:ln>
                    <a:noFill/>
                  </a:ln>
                  <a:solidFill>
                    <a:srgbClr val="FFFFFF"/>
                  </a:solidFill>
                  <a:effectLst/>
                  <a:uLnTx/>
                  <a:uFillTx/>
                  <a:latin typeface="Verdana"/>
                  <a:ea typeface="Verdana"/>
                  <a:cs typeface="Verdana"/>
                  <a:sym typeface="Verdana"/>
                </a:endParaRPr>
              </a:p>
            </p:txBody>
          </p:sp>
          <p:sp>
            <p:nvSpPr>
              <p:cNvPr id="84" name="Trapezoid 18">
                <a:extLst>
                  <a:ext uri="{FF2B5EF4-FFF2-40B4-BE49-F238E27FC236}">
                    <a16:creationId xmlns:a16="http://schemas.microsoft.com/office/drawing/2014/main" id="{2A568BB7-C7BC-452D-A6F8-2577FF5D3A80}"/>
                  </a:ext>
                </a:extLst>
              </p:cNvPr>
              <p:cNvSpPr/>
              <p:nvPr/>
            </p:nvSpPr>
            <p:spPr>
              <a:xfrm rot="8612608">
                <a:off x="285536" y="1108370"/>
                <a:ext cx="189422" cy="370507"/>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675" y="0"/>
                    </a:lnTo>
                    <a:lnTo>
                      <a:pt x="18925" y="0"/>
                    </a:lnTo>
                    <a:lnTo>
                      <a:pt x="21600" y="21600"/>
                    </a:lnTo>
                    <a:close/>
                  </a:path>
                </a:pathLst>
              </a:custGeom>
              <a:solidFill>
                <a:srgbClr val="12ABDB"/>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solidFill>
                      <a:srgbClr val="FFFFFF"/>
                    </a:solidFill>
                    <a:latin typeface="Verdana"/>
                    <a:ea typeface="Verdana"/>
                    <a:cs typeface="Verdana"/>
                    <a:sym typeface="Verdana"/>
                  </a:defRPr>
                </a:pPr>
                <a:endParaRPr kumimoji="0" sz="1300" b="0" i="0" u="none" strike="noStrike" kern="1200" cap="none" spc="0" normalizeH="0" baseline="0" noProof="0">
                  <a:ln>
                    <a:noFill/>
                  </a:ln>
                  <a:solidFill>
                    <a:srgbClr val="FFFFFF"/>
                  </a:solidFill>
                  <a:effectLst/>
                  <a:uLnTx/>
                  <a:uFillTx/>
                  <a:latin typeface="Verdana"/>
                  <a:ea typeface="Verdana"/>
                  <a:cs typeface="Verdana"/>
                  <a:sym typeface="Verdana"/>
                </a:endParaRPr>
              </a:p>
            </p:txBody>
          </p:sp>
        </p:grpSp>
        <p:grpSp>
          <p:nvGrpSpPr>
            <p:cNvPr id="32" name="Group 19">
              <a:extLst>
                <a:ext uri="{FF2B5EF4-FFF2-40B4-BE49-F238E27FC236}">
                  <a16:creationId xmlns:a16="http://schemas.microsoft.com/office/drawing/2014/main" id="{6E1FB72A-9399-4417-9F74-8AE40B4CC7D6}"/>
                </a:ext>
              </a:extLst>
            </p:cNvPr>
            <p:cNvGrpSpPr/>
            <p:nvPr/>
          </p:nvGrpSpPr>
          <p:grpSpPr>
            <a:xfrm>
              <a:off x="3426953" y="2210517"/>
              <a:ext cx="3795849" cy="4032560"/>
              <a:chOff x="0" y="0"/>
              <a:chExt cx="3795848" cy="4032559"/>
            </a:xfrm>
          </p:grpSpPr>
          <p:sp>
            <p:nvSpPr>
              <p:cNvPr id="75" name="Freeform: Shape 4">
                <a:extLst>
                  <a:ext uri="{FF2B5EF4-FFF2-40B4-BE49-F238E27FC236}">
                    <a16:creationId xmlns:a16="http://schemas.microsoft.com/office/drawing/2014/main" id="{9F78D2C8-894E-4707-84F7-0289160514EF}"/>
                  </a:ext>
                </a:extLst>
              </p:cNvPr>
              <p:cNvSpPr/>
              <p:nvPr/>
            </p:nvSpPr>
            <p:spPr>
              <a:xfrm rot="2246763">
                <a:off x="281079" y="641417"/>
                <a:ext cx="1394927" cy="1397363"/>
              </a:xfrm>
              <a:custGeom>
                <a:avLst/>
                <a:gdLst/>
                <a:ahLst/>
                <a:cxnLst>
                  <a:cxn ang="0">
                    <a:pos x="wd2" y="hd2"/>
                  </a:cxn>
                  <a:cxn ang="5400000">
                    <a:pos x="wd2" y="hd2"/>
                  </a:cxn>
                  <a:cxn ang="10800000">
                    <a:pos x="wd2" y="hd2"/>
                  </a:cxn>
                  <a:cxn ang="16200000">
                    <a:pos x="wd2" y="hd2"/>
                  </a:cxn>
                </a:cxnLst>
                <a:rect l="0" t="0" r="r" b="b"/>
                <a:pathLst>
                  <a:path w="21528" h="21566" extrusionOk="0">
                    <a:moveTo>
                      <a:pt x="11604" y="21559"/>
                    </a:moveTo>
                    <a:cubicBezTo>
                      <a:pt x="11487" y="21588"/>
                      <a:pt x="11436" y="21522"/>
                      <a:pt x="11392" y="21405"/>
                    </a:cubicBezTo>
                    <a:cubicBezTo>
                      <a:pt x="11297" y="21097"/>
                      <a:pt x="11187" y="20790"/>
                      <a:pt x="11084" y="20482"/>
                    </a:cubicBezTo>
                    <a:cubicBezTo>
                      <a:pt x="10996" y="20218"/>
                      <a:pt x="11040" y="19940"/>
                      <a:pt x="11026" y="19662"/>
                    </a:cubicBezTo>
                    <a:cubicBezTo>
                      <a:pt x="11018" y="19442"/>
                      <a:pt x="11011" y="19449"/>
                      <a:pt x="10791" y="19442"/>
                    </a:cubicBezTo>
                    <a:cubicBezTo>
                      <a:pt x="10484" y="19442"/>
                      <a:pt x="10169" y="19420"/>
                      <a:pt x="9861" y="19398"/>
                    </a:cubicBezTo>
                    <a:cubicBezTo>
                      <a:pt x="9700" y="19383"/>
                      <a:pt x="9605" y="19391"/>
                      <a:pt x="9605" y="19588"/>
                    </a:cubicBezTo>
                    <a:cubicBezTo>
                      <a:pt x="9605" y="20218"/>
                      <a:pt x="9304" y="20760"/>
                      <a:pt x="9055" y="21317"/>
                    </a:cubicBezTo>
                    <a:cubicBezTo>
                      <a:pt x="9011" y="21420"/>
                      <a:pt x="8953" y="21442"/>
                      <a:pt x="8843" y="21420"/>
                    </a:cubicBezTo>
                    <a:cubicBezTo>
                      <a:pt x="7898" y="21244"/>
                      <a:pt x="6990" y="20943"/>
                      <a:pt x="6111" y="20548"/>
                    </a:cubicBezTo>
                    <a:cubicBezTo>
                      <a:pt x="6008" y="20497"/>
                      <a:pt x="5964" y="20445"/>
                      <a:pt x="5994" y="20321"/>
                    </a:cubicBezTo>
                    <a:cubicBezTo>
                      <a:pt x="6067" y="20006"/>
                      <a:pt x="6118" y="19684"/>
                      <a:pt x="6184" y="19369"/>
                    </a:cubicBezTo>
                    <a:cubicBezTo>
                      <a:pt x="6243" y="19083"/>
                      <a:pt x="6426" y="18849"/>
                      <a:pt x="6558" y="18600"/>
                    </a:cubicBezTo>
                    <a:cubicBezTo>
                      <a:pt x="6631" y="18460"/>
                      <a:pt x="6616" y="18395"/>
                      <a:pt x="6477" y="18314"/>
                    </a:cubicBezTo>
                    <a:cubicBezTo>
                      <a:pt x="6184" y="18145"/>
                      <a:pt x="5899" y="17955"/>
                      <a:pt x="5613" y="17765"/>
                    </a:cubicBezTo>
                    <a:cubicBezTo>
                      <a:pt x="5510" y="17691"/>
                      <a:pt x="5444" y="17691"/>
                      <a:pt x="5378" y="17801"/>
                    </a:cubicBezTo>
                    <a:cubicBezTo>
                      <a:pt x="5056" y="18358"/>
                      <a:pt x="4529" y="18702"/>
                      <a:pt x="4023" y="19054"/>
                    </a:cubicBezTo>
                    <a:cubicBezTo>
                      <a:pt x="3921" y="19120"/>
                      <a:pt x="3862" y="19112"/>
                      <a:pt x="3774" y="19039"/>
                    </a:cubicBezTo>
                    <a:cubicBezTo>
                      <a:pt x="3042" y="18416"/>
                      <a:pt x="2405" y="17699"/>
                      <a:pt x="1848" y="16915"/>
                    </a:cubicBezTo>
                    <a:cubicBezTo>
                      <a:pt x="1782" y="16827"/>
                      <a:pt x="1775" y="16761"/>
                      <a:pt x="1855" y="16673"/>
                    </a:cubicBezTo>
                    <a:cubicBezTo>
                      <a:pt x="2082" y="16424"/>
                      <a:pt x="2288" y="16161"/>
                      <a:pt x="2522" y="15919"/>
                    </a:cubicBezTo>
                    <a:cubicBezTo>
                      <a:pt x="2712" y="15721"/>
                      <a:pt x="2969" y="15604"/>
                      <a:pt x="3203" y="15465"/>
                    </a:cubicBezTo>
                    <a:cubicBezTo>
                      <a:pt x="3357" y="15377"/>
                      <a:pt x="3364" y="15304"/>
                      <a:pt x="3276" y="15150"/>
                    </a:cubicBezTo>
                    <a:cubicBezTo>
                      <a:pt x="3108" y="14864"/>
                      <a:pt x="2961" y="14556"/>
                      <a:pt x="2815" y="14256"/>
                    </a:cubicBezTo>
                    <a:cubicBezTo>
                      <a:pt x="2764" y="14154"/>
                      <a:pt x="2727" y="14102"/>
                      <a:pt x="2610" y="14168"/>
                    </a:cubicBezTo>
                    <a:cubicBezTo>
                      <a:pt x="2090" y="14439"/>
                      <a:pt x="1533" y="14549"/>
                      <a:pt x="954" y="14564"/>
                    </a:cubicBezTo>
                    <a:cubicBezTo>
                      <a:pt x="903" y="14564"/>
                      <a:pt x="845" y="14578"/>
                      <a:pt x="793" y="14586"/>
                    </a:cubicBezTo>
                    <a:cubicBezTo>
                      <a:pt x="691" y="14600"/>
                      <a:pt x="625" y="14564"/>
                      <a:pt x="588" y="14454"/>
                    </a:cubicBezTo>
                    <a:cubicBezTo>
                      <a:pt x="303" y="13641"/>
                      <a:pt x="90" y="12806"/>
                      <a:pt x="17" y="11949"/>
                    </a:cubicBezTo>
                    <a:cubicBezTo>
                      <a:pt x="-27" y="11480"/>
                      <a:pt x="-20" y="11487"/>
                      <a:pt x="434" y="11319"/>
                    </a:cubicBezTo>
                    <a:cubicBezTo>
                      <a:pt x="911" y="11136"/>
                      <a:pt x="1401" y="11011"/>
                      <a:pt x="1914" y="11055"/>
                    </a:cubicBezTo>
                    <a:cubicBezTo>
                      <a:pt x="2046" y="11063"/>
                      <a:pt x="2090" y="11004"/>
                      <a:pt x="2090" y="10872"/>
                    </a:cubicBezTo>
                    <a:cubicBezTo>
                      <a:pt x="2090" y="10543"/>
                      <a:pt x="2104" y="10213"/>
                      <a:pt x="2134" y="9883"/>
                    </a:cubicBezTo>
                    <a:cubicBezTo>
                      <a:pt x="2148" y="9737"/>
                      <a:pt x="2141" y="9634"/>
                      <a:pt x="1951" y="9634"/>
                    </a:cubicBezTo>
                    <a:cubicBezTo>
                      <a:pt x="1313" y="9634"/>
                      <a:pt x="764" y="9334"/>
                      <a:pt x="207" y="9078"/>
                    </a:cubicBezTo>
                    <a:cubicBezTo>
                      <a:pt x="112" y="9034"/>
                      <a:pt x="90" y="8975"/>
                      <a:pt x="112" y="8873"/>
                    </a:cubicBezTo>
                    <a:cubicBezTo>
                      <a:pt x="288" y="7928"/>
                      <a:pt x="581" y="7020"/>
                      <a:pt x="984" y="6141"/>
                    </a:cubicBezTo>
                    <a:cubicBezTo>
                      <a:pt x="1035" y="6031"/>
                      <a:pt x="1094" y="5987"/>
                      <a:pt x="1225" y="6016"/>
                    </a:cubicBezTo>
                    <a:cubicBezTo>
                      <a:pt x="1526" y="6082"/>
                      <a:pt x="1833" y="6141"/>
                      <a:pt x="2141" y="6199"/>
                    </a:cubicBezTo>
                    <a:cubicBezTo>
                      <a:pt x="2434" y="6258"/>
                      <a:pt x="2668" y="6441"/>
                      <a:pt x="2932" y="6580"/>
                    </a:cubicBezTo>
                    <a:cubicBezTo>
                      <a:pt x="3079" y="6653"/>
                      <a:pt x="3145" y="6639"/>
                      <a:pt x="3232" y="6492"/>
                    </a:cubicBezTo>
                    <a:cubicBezTo>
                      <a:pt x="3401" y="6199"/>
                      <a:pt x="3591" y="5914"/>
                      <a:pt x="3789" y="5628"/>
                    </a:cubicBezTo>
                    <a:cubicBezTo>
                      <a:pt x="3855" y="5533"/>
                      <a:pt x="3855" y="5467"/>
                      <a:pt x="3752" y="5408"/>
                    </a:cubicBezTo>
                    <a:cubicBezTo>
                      <a:pt x="3196" y="5079"/>
                      <a:pt x="2844" y="4551"/>
                      <a:pt x="2485" y="4038"/>
                    </a:cubicBezTo>
                    <a:cubicBezTo>
                      <a:pt x="2419" y="3943"/>
                      <a:pt x="2427" y="3885"/>
                      <a:pt x="2500" y="3804"/>
                    </a:cubicBezTo>
                    <a:cubicBezTo>
                      <a:pt x="3123" y="3072"/>
                      <a:pt x="3833" y="2434"/>
                      <a:pt x="4617" y="1878"/>
                    </a:cubicBezTo>
                    <a:cubicBezTo>
                      <a:pt x="4712" y="1812"/>
                      <a:pt x="4778" y="1797"/>
                      <a:pt x="4873" y="1885"/>
                    </a:cubicBezTo>
                    <a:cubicBezTo>
                      <a:pt x="5115" y="2105"/>
                      <a:pt x="5371" y="2310"/>
                      <a:pt x="5613" y="2537"/>
                    </a:cubicBezTo>
                    <a:cubicBezTo>
                      <a:pt x="5811" y="2720"/>
                      <a:pt x="5906" y="2969"/>
                      <a:pt x="6052" y="3189"/>
                    </a:cubicBezTo>
                    <a:cubicBezTo>
                      <a:pt x="6213" y="3431"/>
                      <a:pt x="6177" y="3416"/>
                      <a:pt x="6404" y="3284"/>
                    </a:cubicBezTo>
                    <a:cubicBezTo>
                      <a:pt x="6682" y="3123"/>
                      <a:pt x="6975" y="2976"/>
                      <a:pt x="7268" y="2845"/>
                    </a:cubicBezTo>
                    <a:cubicBezTo>
                      <a:pt x="7400" y="2786"/>
                      <a:pt x="7415" y="2727"/>
                      <a:pt x="7356" y="2610"/>
                    </a:cubicBezTo>
                    <a:cubicBezTo>
                      <a:pt x="7085" y="2105"/>
                      <a:pt x="6990" y="1555"/>
                      <a:pt x="6975" y="991"/>
                    </a:cubicBezTo>
                    <a:cubicBezTo>
                      <a:pt x="6975" y="940"/>
                      <a:pt x="6961" y="882"/>
                      <a:pt x="6953" y="830"/>
                    </a:cubicBezTo>
                    <a:cubicBezTo>
                      <a:pt x="6931" y="713"/>
                      <a:pt x="6975" y="655"/>
                      <a:pt x="7092" y="611"/>
                    </a:cubicBezTo>
                    <a:cubicBezTo>
                      <a:pt x="7993" y="288"/>
                      <a:pt x="8924" y="91"/>
                      <a:pt x="9876" y="3"/>
                    </a:cubicBezTo>
                    <a:cubicBezTo>
                      <a:pt x="10022" y="-12"/>
                      <a:pt x="10088" y="32"/>
                      <a:pt x="10125" y="171"/>
                    </a:cubicBezTo>
                    <a:cubicBezTo>
                      <a:pt x="10154" y="281"/>
                      <a:pt x="10191" y="391"/>
                      <a:pt x="10235" y="501"/>
                    </a:cubicBezTo>
                    <a:cubicBezTo>
                      <a:pt x="10425" y="955"/>
                      <a:pt x="10520" y="1416"/>
                      <a:pt x="10484" y="1907"/>
                    </a:cubicBezTo>
                    <a:cubicBezTo>
                      <a:pt x="10469" y="2068"/>
                      <a:pt x="10535" y="2112"/>
                      <a:pt x="10696" y="2112"/>
                    </a:cubicBezTo>
                    <a:cubicBezTo>
                      <a:pt x="11011" y="2105"/>
                      <a:pt x="11326" y="2127"/>
                      <a:pt x="11648" y="2156"/>
                    </a:cubicBezTo>
                    <a:cubicBezTo>
                      <a:pt x="11809" y="2171"/>
                      <a:pt x="11905" y="2163"/>
                      <a:pt x="11905" y="1966"/>
                    </a:cubicBezTo>
                    <a:cubicBezTo>
                      <a:pt x="11905" y="1336"/>
                      <a:pt x="12205" y="794"/>
                      <a:pt x="12454" y="237"/>
                    </a:cubicBezTo>
                    <a:cubicBezTo>
                      <a:pt x="12498" y="134"/>
                      <a:pt x="12564" y="113"/>
                      <a:pt x="12666" y="134"/>
                    </a:cubicBezTo>
                    <a:cubicBezTo>
                      <a:pt x="13611" y="310"/>
                      <a:pt x="14519" y="603"/>
                      <a:pt x="15398" y="1006"/>
                    </a:cubicBezTo>
                    <a:cubicBezTo>
                      <a:pt x="15501" y="1057"/>
                      <a:pt x="15545" y="1116"/>
                      <a:pt x="15516" y="1233"/>
                    </a:cubicBezTo>
                    <a:cubicBezTo>
                      <a:pt x="15450" y="1541"/>
                      <a:pt x="15391" y="1856"/>
                      <a:pt x="15325" y="2163"/>
                    </a:cubicBezTo>
                    <a:cubicBezTo>
                      <a:pt x="15267" y="2449"/>
                      <a:pt x="15083" y="2683"/>
                      <a:pt x="14952" y="2932"/>
                    </a:cubicBezTo>
                    <a:cubicBezTo>
                      <a:pt x="14871" y="3086"/>
                      <a:pt x="14886" y="3160"/>
                      <a:pt x="15047" y="3240"/>
                    </a:cubicBezTo>
                    <a:cubicBezTo>
                      <a:pt x="15333" y="3401"/>
                      <a:pt x="15611" y="3584"/>
                      <a:pt x="15875" y="3775"/>
                    </a:cubicBezTo>
                    <a:cubicBezTo>
                      <a:pt x="15992" y="3863"/>
                      <a:pt x="16058" y="3855"/>
                      <a:pt x="16131" y="3731"/>
                    </a:cubicBezTo>
                    <a:cubicBezTo>
                      <a:pt x="16453" y="3174"/>
                      <a:pt x="16988" y="2837"/>
                      <a:pt x="17493" y="2478"/>
                    </a:cubicBezTo>
                    <a:cubicBezTo>
                      <a:pt x="17581" y="2420"/>
                      <a:pt x="17640" y="2427"/>
                      <a:pt x="17713" y="2493"/>
                    </a:cubicBezTo>
                    <a:cubicBezTo>
                      <a:pt x="18453" y="3123"/>
                      <a:pt x="19097" y="3833"/>
                      <a:pt x="19654" y="4624"/>
                    </a:cubicBezTo>
                    <a:cubicBezTo>
                      <a:pt x="19720" y="4712"/>
                      <a:pt x="19727" y="4778"/>
                      <a:pt x="19647" y="4866"/>
                    </a:cubicBezTo>
                    <a:cubicBezTo>
                      <a:pt x="19420" y="5122"/>
                      <a:pt x="19200" y="5386"/>
                      <a:pt x="18965" y="5635"/>
                    </a:cubicBezTo>
                    <a:cubicBezTo>
                      <a:pt x="18790" y="5818"/>
                      <a:pt x="18541" y="5921"/>
                      <a:pt x="18328" y="6060"/>
                    </a:cubicBezTo>
                    <a:cubicBezTo>
                      <a:pt x="18123" y="6199"/>
                      <a:pt x="18123" y="6192"/>
                      <a:pt x="18240" y="6404"/>
                    </a:cubicBezTo>
                    <a:cubicBezTo>
                      <a:pt x="18394" y="6697"/>
                      <a:pt x="18548" y="6990"/>
                      <a:pt x="18687" y="7283"/>
                    </a:cubicBezTo>
                    <a:cubicBezTo>
                      <a:pt x="18738" y="7386"/>
                      <a:pt x="18782" y="7430"/>
                      <a:pt x="18892" y="7371"/>
                    </a:cubicBezTo>
                    <a:cubicBezTo>
                      <a:pt x="19412" y="7100"/>
                      <a:pt x="19969" y="6990"/>
                      <a:pt x="20548" y="6976"/>
                    </a:cubicBezTo>
                    <a:cubicBezTo>
                      <a:pt x="20599" y="6976"/>
                      <a:pt x="20657" y="6961"/>
                      <a:pt x="20709" y="6954"/>
                    </a:cubicBezTo>
                    <a:cubicBezTo>
                      <a:pt x="20819" y="6939"/>
                      <a:pt x="20877" y="6976"/>
                      <a:pt x="20914" y="7085"/>
                    </a:cubicBezTo>
                    <a:cubicBezTo>
                      <a:pt x="21199" y="7898"/>
                      <a:pt x="21412" y="8733"/>
                      <a:pt x="21485" y="9590"/>
                    </a:cubicBezTo>
                    <a:cubicBezTo>
                      <a:pt x="21485" y="9605"/>
                      <a:pt x="21485" y="9627"/>
                      <a:pt x="21492" y="9642"/>
                    </a:cubicBezTo>
                    <a:cubicBezTo>
                      <a:pt x="21558" y="10140"/>
                      <a:pt x="21573" y="10023"/>
                      <a:pt x="21156" y="10184"/>
                    </a:cubicBezTo>
                    <a:cubicBezTo>
                      <a:pt x="20650" y="10374"/>
                      <a:pt x="20137" y="10528"/>
                      <a:pt x="19588" y="10477"/>
                    </a:cubicBezTo>
                    <a:cubicBezTo>
                      <a:pt x="19464" y="10462"/>
                      <a:pt x="19420" y="10513"/>
                      <a:pt x="19412" y="10645"/>
                    </a:cubicBezTo>
                    <a:cubicBezTo>
                      <a:pt x="19405" y="10989"/>
                      <a:pt x="19390" y="11326"/>
                      <a:pt x="19361" y="11671"/>
                    </a:cubicBezTo>
                    <a:cubicBezTo>
                      <a:pt x="19354" y="11810"/>
                      <a:pt x="19361" y="11898"/>
                      <a:pt x="19529" y="11898"/>
                    </a:cubicBezTo>
                    <a:cubicBezTo>
                      <a:pt x="20167" y="11898"/>
                      <a:pt x="20716" y="12191"/>
                      <a:pt x="21273" y="12447"/>
                    </a:cubicBezTo>
                    <a:cubicBezTo>
                      <a:pt x="21368" y="12491"/>
                      <a:pt x="21405" y="12542"/>
                      <a:pt x="21383" y="12659"/>
                    </a:cubicBezTo>
                    <a:cubicBezTo>
                      <a:pt x="21207" y="13612"/>
                      <a:pt x="20906" y="14527"/>
                      <a:pt x="20504" y="15406"/>
                    </a:cubicBezTo>
                    <a:cubicBezTo>
                      <a:pt x="20460" y="15509"/>
                      <a:pt x="20401" y="15538"/>
                      <a:pt x="20291" y="15516"/>
                    </a:cubicBezTo>
                    <a:cubicBezTo>
                      <a:pt x="19683" y="15406"/>
                      <a:pt x="19075" y="15311"/>
                      <a:pt x="18548" y="14945"/>
                    </a:cubicBezTo>
                    <a:cubicBezTo>
                      <a:pt x="18423" y="14857"/>
                      <a:pt x="18358" y="14886"/>
                      <a:pt x="18277" y="15018"/>
                    </a:cubicBezTo>
                    <a:cubicBezTo>
                      <a:pt x="18109" y="15311"/>
                      <a:pt x="17918" y="15597"/>
                      <a:pt x="17728" y="15882"/>
                    </a:cubicBezTo>
                    <a:cubicBezTo>
                      <a:pt x="17662" y="15977"/>
                      <a:pt x="17632" y="16043"/>
                      <a:pt x="17750" y="16117"/>
                    </a:cubicBezTo>
                    <a:cubicBezTo>
                      <a:pt x="18306" y="16446"/>
                      <a:pt x="18651" y="16959"/>
                      <a:pt x="19009" y="17472"/>
                    </a:cubicBezTo>
                    <a:cubicBezTo>
                      <a:pt x="19083" y="17574"/>
                      <a:pt x="19075" y="17640"/>
                      <a:pt x="18987" y="17735"/>
                    </a:cubicBezTo>
                    <a:cubicBezTo>
                      <a:pt x="18365" y="18468"/>
                      <a:pt x="17662" y="19098"/>
                      <a:pt x="16878" y="19647"/>
                    </a:cubicBezTo>
                    <a:cubicBezTo>
                      <a:pt x="16783" y="19713"/>
                      <a:pt x="16717" y="19728"/>
                      <a:pt x="16622" y="19640"/>
                    </a:cubicBezTo>
                    <a:cubicBezTo>
                      <a:pt x="16380" y="19420"/>
                      <a:pt x="16124" y="19215"/>
                      <a:pt x="15882" y="18988"/>
                    </a:cubicBezTo>
                    <a:cubicBezTo>
                      <a:pt x="15677" y="18797"/>
                      <a:pt x="15567" y="18541"/>
                      <a:pt x="15428" y="18307"/>
                    </a:cubicBezTo>
                    <a:cubicBezTo>
                      <a:pt x="15333" y="18145"/>
                      <a:pt x="15259" y="18138"/>
                      <a:pt x="15105" y="18233"/>
                    </a:cubicBezTo>
                    <a:cubicBezTo>
                      <a:pt x="14827" y="18402"/>
                      <a:pt x="14527" y="18548"/>
                      <a:pt x="14227" y="18687"/>
                    </a:cubicBezTo>
                    <a:cubicBezTo>
                      <a:pt x="14102" y="18746"/>
                      <a:pt x="14073" y="18805"/>
                      <a:pt x="14139" y="18922"/>
                    </a:cubicBezTo>
                    <a:cubicBezTo>
                      <a:pt x="14410" y="19427"/>
                      <a:pt x="14505" y="19977"/>
                      <a:pt x="14519" y="20541"/>
                    </a:cubicBezTo>
                    <a:cubicBezTo>
                      <a:pt x="14519" y="20599"/>
                      <a:pt x="14534" y="20658"/>
                      <a:pt x="14541" y="20724"/>
                    </a:cubicBezTo>
                    <a:cubicBezTo>
                      <a:pt x="14556" y="20819"/>
                      <a:pt x="14519" y="20878"/>
                      <a:pt x="14417" y="20914"/>
                    </a:cubicBezTo>
                    <a:cubicBezTo>
                      <a:pt x="13780" y="21207"/>
                      <a:pt x="12359" y="21522"/>
                      <a:pt x="11604" y="21559"/>
                    </a:cubicBezTo>
                    <a:close/>
                    <a:moveTo>
                      <a:pt x="10762" y="16300"/>
                    </a:moveTo>
                    <a:cubicBezTo>
                      <a:pt x="13831" y="16248"/>
                      <a:pt x="16255" y="13861"/>
                      <a:pt x="16255" y="10770"/>
                    </a:cubicBezTo>
                    <a:cubicBezTo>
                      <a:pt x="16255" y="7701"/>
                      <a:pt x="13831" y="5269"/>
                      <a:pt x="10747" y="5269"/>
                    </a:cubicBezTo>
                    <a:cubicBezTo>
                      <a:pt x="7664" y="5269"/>
                      <a:pt x="5232" y="7701"/>
                      <a:pt x="5232" y="10784"/>
                    </a:cubicBezTo>
                    <a:cubicBezTo>
                      <a:pt x="5239" y="13883"/>
                      <a:pt x="7686" y="16263"/>
                      <a:pt x="10762" y="16300"/>
                    </a:cubicBezTo>
                    <a:close/>
                  </a:path>
                </a:pathLst>
              </a:custGeom>
              <a:solidFill>
                <a:srgbClr val="D4D4D4">
                  <a:alpha val="40000"/>
                </a:srgbClr>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latin typeface="Verdana"/>
                    <a:ea typeface="Verdana"/>
                    <a:cs typeface="Verdana"/>
                    <a:sym typeface="Verdana"/>
                  </a:defRPr>
                </a:pPr>
                <a:endParaRPr kumimoji="0" sz="1300" b="0" i="0" u="none" strike="noStrike" kern="1200" cap="none" spc="0" normalizeH="0" baseline="0" noProof="0">
                  <a:ln>
                    <a:noFill/>
                  </a:ln>
                  <a:solidFill>
                    <a:srgbClr val="000000"/>
                  </a:solidFill>
                  <a:effectLst/>
                  <a:uLnTx/>
                  <a:uFillTx/>
                  <a:latin typeface="Verdana"/>
                  <a:ea typeface="Verdana"/>
                  <a:cs typeface="Verdana"/>
                  <a:sym typeface="Verdana"/>
                </a:endParaRPr>
              </a:p>
            </p:txBody>
          </p:sp>
          <p:grpSp>
            <p:nvGrpSpPr>
              <p:cNvPr id="76" name="Group 21">
                <a:extLst>
                  <a:ext uri="{FF2B5EF4-FFF2-40B4-BE49-F238E27FC236}">
                    <a16:creationId xmlns:a16="http://schemas.microsoft.com/office/drawing/2014/main" id="{BB1DCDF5-DE71-4C6A-95AF-A18E2487EF16}"/>
                  </a:ext>
                </a:extLst>
              </p:cNvPr>
              <p:cNvGrpSpPr/>
              <p:nvPr/>
            </p:nvGrpSpPr>
            <p:grpSpPr>
              <a:xfrm>
                <a:off x="809093" y="1044813"/>
                <a:ext cx="2986756" cy="2987747"/>
                <a:chOff x="0" y="0"/>
                <a:chExt cx="2986755" cy="2987745"/>
              </a:xfrm>
            </p:grpSpPr>
            <p:sp>
              <p:nvSpPr>
                <p:cNvPr id="78" name="Freeform: Shape 7">
                  <a:extLst>
                    <a:ext uri="{FF2B5EF4-FFF2-40B4-BE49-F238E27FC236}">
                      <a16:creationId xmlns:a16="http://schemas.microsoft.com/office/drawing/2014/main" id="{D2A4CE66-BE30-406C-9E71-5BE29F4B6201}"/>
                    </a:ext>
                  </a:extLst>
                </p:cNvPr>
                <p:cNvSpPr/>
                <p:nvPr/>
              </p:nvSpPr>
              <p:spPr>
                <a:xfrm rot="2246763">
                  <a:off x="429310" y="427142"/>
                  <a:ext cx="2128135" cy="2133461"/>
                </a:xfrm>
                <a:custGeom>
                  <a:avLst/>
                  <a:gdLst/>
                  <a:ahLst/>
                  <a:cxnLst>
                    <a:cxn ang="0">
                      <a:pos x="wd2" y="hd2"/>
                    </a:cxn>
                    <a:cxn ang="5400000">
                      <a:pos x="wd2" y="hd2"/>
                    </a:cxn>
                    <a:cxn ang="10800000">
                      <a:pos x="wd2" y="hd2"/>
                    </a:cxn>
                    <a:cxn ang="16200000">
                      <a:pos x="wd2" y="hd2"/>
                    </a:cxn>
                  </a:cxnLst>
                  <a:rect l="0" t="0" r="r" b="b"/>
                  <a:pathLst>
                    <a:path w="21574" h="21584" extrusionOk="0">
                      <a:moveTo>
                        <a:pt x="10873" y="21534"/>
                      </a:moveTo>
                      <a:cubicBezTo>
                        <a:pt x="10703" y="21534"/>
                        <a:pt x="10528" y="21534"/>
                        <a:pt x="10359" y="21534"/>
                      </a:cubicBezTo>
                      <a:cubicBezTo>
                        <a:pt x="10264" y="21534"/>
                        <a:pt x="10214" y="21496"/>
                        <a:pt x="10202" y="21403"/>
                      </a:cubicBezTo>
                      <a:cubicBezTo>
                        <a:pt x="10127" y="21002"/>
                        <a:pt x="10039" y="20608"/>
                        <a:pt x="9964" y="20207"/>
                      </a:cubicBezTo>
                      <a:cubicBezTo>
                        <a:pt x="9938" y="20089"/>
                        <a:pt x="9976" y="19970"/>
                        <a:pt x="9989" y="19851"/>
                      </a:cubicBezTo>
                      <a:cubicBezTo>
                        <a:pt x="10001" y="19751"/>
                        <a:pt x="9976" y="19701"/>
                        <a:pt x="9863" y="19688"/>
                      </a:cubicBezTo>
                      <a:cubicBezTo>
                        <a:pt x="9387" y="19638"/>
                        <a:pt x="8910" y="19550"/>
                        <a:pt x="8446" y="19425"/>
                      </a:cubicBezTo>
                      <a:cubicBezTo>
                        <a:pt x="8346" y="19400"/>
                        <a:pt x="8289" y="19432"/>
                        <a:pt x="8264" y="19532"/>
                      </a:cubicBezTo>
                      <a:cubicBezTo>
                        <a:pt x="8133" y="20076"/>
                        <a:pt x="7738" y="20470"/>
                        <a:pt x="7474" y="20946"/>
                      </a:cubicBezTo>
                      <a:cubicBezTo>
                        <a:pt x="7443" y="21002"/>
                        <a:pt x="7393" y="21002"/>
                        <a:pt x="7336" y="20983"/>
                      </a:cubicBezTo>
                      <a:cubicBezTo>
                        <a:pt x="6960" y="20858"/>
                        <a:pt x="6590" y="20708"/>
                        <a:pt x="6233" y="20545"/>
                      </a:cubicBezTo>
                      <a:cubicBezTo>
                        <a:pt x="6158" y="20514"/>
                        <a:pt x="6151" y="20458"/>
                        <a:pt x="6164" y="20395"/>
                      </a:cubicBezTo>
                      <a:cubicBezTo>
                        <a:pt x="6245" y="19995"/>
                        <a:pt x="6314" y="19594"/>
                        <a:pt x="6408" y="19200"/>
                      </a:cubicBezTo>
                      <a:cubicBezTo>
                        <a:pt x="6440" y="19069"/>
                        <a:pt x="6515" y="18950"/>
                        <a:pt x="6584" y="18831"/>
                      </a:cubicBezTo>
                      <a:cubicBezTo>
                        <a:pt x="6628" y="18756"/>
                        <a:pt x="6615" y="18712"/>
                        <a:pt x="6534" y="18668"/>
                      </a:cubicBezTo>
                      <a:cubicBezTo>
                        <a:pt x="6095" y="18437"/>
                        <a:pt x="5681" y="18161"/>
                        <a:pt x="5286" y="17861"/>
                      </a:cubicBezTo>
                      <a:cubicBezTo>
                        <a:pt x="5217" y="17805"/>
                        <a:pt x="5167" y="17805"/>
                        <a:pt x="5111" y="17886"/>
                      </a:cubicBezTo>
                      <a:cubicBezTo>
                        <a:pt x="4785" y="18343"/>
                        <a:pt x="4264" y="18568"/>
                        <a:pt x="3831" y="18906"/>
                      </a:cubicBezTo>
                      <a:cubicBezTo>
                        <a:pt x="3775" y="18950"/>
                        <a:pt x="3731" y="18931"/>
                        <a:pt x="3681" y="18887"/>
                      </a:cubicBezTo>
                      <a:cubicBezTo>
                        <a:pt x="3386" y="18631"/>
                        <a:pt x="3110" y="18349"/>
                        <a:pt x="2841" y="18074"/>
                      </a:cubicBezTo>
                      <a:cubicBezTo>
                        <a:pt x="2791" y="18017"/>
                        <a:pt x="2784" y="17974"/>
                        <a:pt x="2828" y="17911"/>
                      </a:cubicBezTo>
                      <a:cubicBezTo>
                        <a:pt x="3054" y="17573"/>
                        <a:pt x="3280" y="17235"/>
                        <a:pt x="3512" y="16897"/>
                      </a:cubicBezTo>
                      <a:cubicBezTo>
                        <a:pt x="3587" y="16791"/>
                        <a:pt x="3700" y="16722"/>
                        <a:pt x="3800" y="16635"/>
                      </a:cubicBezTo>
                      <a:cubicBezTo>
                        <a:pt x="3875" y="16572"/>
                        <a:pt x="3888" y="16516"/>
                        <a:pt x="3825" y="16441"/>
                      </a:cubicBezTo>
                      <a:cubicBezTo>
                        <a:pt x="3518" y="16059"/>
                        <a:pt x="3236" y="15658"/>
                        <a:pt x="2991" y="15227"/>
                      </a:cubicBezTo>
                      <a:cubicBezTo>
                        <a:pt x="2935" y="15127"/>
                        <a:pt x="2878" y="15145"/>
                        <a:pt x="2803" y="15195"/>
                      </a:cubicBezTo>
                      <a:cubicBezTo>
                        <a:pt x="2327" y="15489"/>
                        <a:pt x="1769" y="15496"/>
                        <a:pt x="1248" y="15640"/>
                      </a:cubicBezTo>
                      <a:cubicBezTo>
                        <a:pt x="1179" y="15658"/>
                        <a:pt x="1142" y="15621"/>
                        <a:pt x="1117" y="15558"/>
                      </a:cubicBezTo>
                      <a:cubicBezTo>
                        <a:pt x="947" y="15208"/>
                        <a:pt x="791" y="14845"/>
                        <a:pt x="653" y="14482"/>
                      </a:cubicBezTo>
                      <a:cubicBezTo>
                        <a:pt x="628" y="14407"/>
                        <a:pt x="646" y="14363"/>
                        <a:pt x="709" y="14326"/>
                      </a:cubicBezTo>
                      <a:cubicBezTo>
                        <a:pt x="1048" y="14100"/>
                        <a:pt x="1380" y="13869"/>
                        <a:pt x="1731" y="13650"/>
                      </a:cubicBezTo>
                      <a:cubicBezTo>
                        <a:pt x="1844" y="13581"/>
                        <a:pt x="1982" y="13550"/>
                        <a:pt x="2114" y="13512"/>
                      </a:cubicBezTo>
                      <a:cubicBezTo>
                        <a:pt x="2195" y="13487"/>
                        <a:pt x="2220" y="13450"/>
                        <a:pt x="2195" y="13362"/>
                      </a:cubicBezTo>
                      <a:cubicBezTo>
                        <a:pt x="2051" y="12880"/>
                        <a:pt x="1950" y="12392"/>
                        <a:pt x="1882" y="11898"/>
                      </a:cubicBezTo>
                      <a:cubicBezTo>
                        <a:pt x="1869" y="11816"/>
                        <a:pt x="1831" y="11791"/>
                        <a:pt x="1750" y="11804"/>
                      </a:cubicBezTo>
                      <a:cubicBezTo>
                        <a:pt x="1192" y="11898"/>
                        <a:pt x="665" y="11685"/>
                        <a:pt x="126" y="11622"/>
                      </a:cubicBezTo>
                      <a:cubicBezTo>
                        <a:pt x="57" y="11616"/>
                        <a:pt x="32" y="11572"/>
                        <a:pt x="26" y="11504"/>
                      </a:cubicBezTo>
                      <a:cubicBezTo>
                        <a:pt x="-12" y="11109"/>
                        <a:pt x="1" y="10715"/>
                        <a:pt x="7" y="10315"/>
                      </a:cubicBezTo>
                      <a:cubicBezTo>
                        <a:pt x="7" y="10240"/>
                        <a:pt x="57" y="10208"/>
                        <a:pt x="126" y="10196"/>
                      </a:cubicBezTo>
                      <a:cubicBezTo>
                        <a:pt x="533" y="10114"/>
                        <a:pt x="935" y="10033"/>
                        <a:pt x="1342" y="9952"/>
                      </a:cubicBezTo>
                      <a:cubicBezTo>
                        <a:pt x="1461" y="9927"/>
                        <a:pt x="1581" y="9964"/>
                        <a:pt x="1700" y="9977"/>
                      </a:cubicBezTo>
                      <a:cubicBezTo>
                        <a:pt x="1800" y="9989"/>
                        <a:pt x="1850" y="9952"/>
                        <a:pt x="1863" y="9845"/>
                      </a:cubicBezTo>
                      <a:cubicBezTo>
                        <a:pt x="1913" y="9376"/>
                        <a:pt x="2001" y="8907"/>
                        <a:pt x="2120" y="8450"/>
                      </a:cubicBezTo>
                      <a:cubicBezTo>
                        <a:pt x="2151" y="8331"/>
                        <a:pt x="2107" y="8275"/>
                        <a:pt x="1994" y="8250"/>
                      </a:cubicBezTo>
                      <a:cubicBezTo>
                        <a:pt x="1461" y="8112"/>
                        <a:pt x="1060" y="7724"/>
                        <a:pt x="596" y="7468"/>
                      </a:cubicBezTo>
                      <a:cubicBezTo>
                        <a:pt x="546" y="7443"/>
                        <a:pt x="546" y="7399"/>
                        <a:pt x="559" y="7349"/>
                      </a:cubicBezTo>
                      <a:cubicBezTo>
                        <a:pt x="684" y="6967"/>
                        <a:pt x="841" y="6598"/>
                        <a:pt x="1004" y="6229"/>
                      </a:cubicBezTo>
                      <a:cubicBezTo>
                        <a:pt x="1035" y="6160"/>
                        <a:pt x="1085" y="6147"/>
                        <a:pt x="1142" y="6166"/>
                      </a:cubicBezTo>
                      <a:cubicBezTo>
                        <a:pt x="1668" y="6304"/>
                        <a:pt x="2233" y="6291"/>
                        <a:pt x="2722" y="6585"/>
                      </a:cubicBezTo>
                      <a:cubicBezTo>
                        <a:pt x="2803" y="6635"/>
                        <a:pt x="2841" y="6604"/>
                        <a:pt x="2878" y="6535"/>
                      </a:cubicBezTo>
                      <a:cubicBezTo>
                        <a:pt x="3110" y="6104"/>
                        <a:pt x="3380" y="5691"/>
                        <a:pt x="3675" y="5303"/>
                      </a:cubicBezTo>
                      <a:cubicBezTo>
                        <a:pt x="3712" y="5253"/>
                        <a:pt x="3775" y="5196"/>
                        <a:pt x="3681" y="5134"/>
                      </a:cubicBezTo>
                      <a:cubicBezTo>
                        <a:pt x="3324" y="4902"/>
                        <a:pt x="3142" y="4533"/>
                        <a:pt x="2897" y="4208"/>
                      </a:cubicBezTo>
                      <a:cubicBezTo>
                        <a:pt x="2853" y="4151"/>
                        <a:pt x="2822" y="4095"/>
                        <a:pt x="2778" y="4039"/>
                      </a:cubicBezTo>
                      <a:cubicBezTo>
                        <a:pt x="2584" y="3763"/>
                        <a:pt x="2577" y="3757"/>
                        <a:pt x="2803" y="3519"/>
                      </a:cubicBezTo>
                      <a:cubicBezTo>
                        <a:pt x="3016" y="3294"/>
                        <a:pt x="3236" y="3081"/>
                        <a:pt x="3449" y="2862"/>
                      </a:cubicBezTo>
                      <a:cubicBezTo>
                        <a:pt x="3518" y="2794"/>
                        <a:pt x="3574" y="2787"/>
                        <a:pt x="3650" y="2844"/>
                      </a:cubicBezTo>
                      <a:cubicBezTo>
                        <a:pt x="3976" y="3063"/>
                        <a:pt x="4302" y="3275"/>
                        <a:pt x="4628" y="3494"/>
                      </a:cubicBezTo>
                      <a:cubicBezTo>
                        <a:pt x="4741" y="3569"/>
                        <a:pt x="4816" y="3676"/>
                        <a:pt x="4897" y="3776"/>
                      </a:cubicBezTo>
                      <a:cubicBezTo>
                        <a:pt x="4966" y="3870"/>
                        <a:pt x="5029" y="3889"/>
                        <a:pt x="5129" y="3807"/>
                      </a:cubicBezTo>
                      <a:cubicBezTo>
                        <a:pt x="5499" y="3501"/>
                        <a:pt x="5901" y="3232"/>
                        <a:pt x="6314" y="2994"/>
                      </a:cubicBezTo>
                      <a:cubicBezTo>
                        <a:pt x="6377" y="2956"/>
                        <a:pt x="6434" y="2919"/>
                        <a:pt x="6377" y="2837"/>
                      </a:cubicBezTo>
                      <a:cubicBezTo>
                        <a:pt x="6107" y="2449"/>
                        <a:pt x="6089" y="1986"/>
                        <a:pt x="5982" y="1548"/>
                      </a:cubicBezTo>
                      <a:cubicBezTo>
                        <a:pt x="5888" y="1167"/>
                        <a:pt x="5901" y="1173"/>
                        <a:pt x="6252" y="998"/>
                      </a:cubicBezTo>
                      <a:cubicBezTo>
                        <a:pt x="6502" y="873"/>
                        <a:pt x="6772" y="779"/>
                        <a:pt x="7029" y="672"/>
                      </a:cubicBezTo>
                      <a:cubicBezTo>
                        <a:pt x="7123" y="635"/>
                        <a:pt x="7180" y="641"/>
                        <a:pt x="7236" y="729"/>
                      </a:cubicBezTo>
                      <a:cubicBezTo>
                        <a:pt x="7449" y="1054"/>
                        <a:pt x="7662" y="1373"/>
                        <a:pt x="7882" y="1692"/>
                      </a:cubicBezTo>
                      <a:cubicBezTo>
                        <a:pt x="7963" y="1811"/>
                        <a:pt x="7988" y="1949"/>
                        <a:pt x="8032" y="2086"/>
                      </a:cubicBezTo>
                      <a:cubicBezTo>
                        <a:pt x="8064" y="2187"/>
                        <a:pt x="8108" y="2218"/>
                        <a:pt x="8208" y="2187"/>
                      </a:cubicBezTo>
                      <a:cubicBezTo>
                        <a:pt x="8672" y="2049"/>
                        <a:pt x="9148" y="1949"/>
                        <a:pt x="9631" y="1886"/>
                      </a:cubicBezTo>
                      <a:cubicBezTo>
                        <a:pt x="9725" y="1874"/>
                        <a:pt x="9757" y="1836"/>
                        <a:pt x="9744" y="1742"/>
                      </a:cubicBezTo>
                      <a:cubicBezTo>
                        <a:pt x="9663" y="1192"/>
                        <a:pt x="9863" y="672"/>
                        <a:pt x="9926" y="134"/>
                      </a:cubicBezTo>
                      <a:cubicBezTo>
                        <a:pt x="9932" y="72"/>
                        <a:pt x="9970" y="34"/>
                        <a:pt x="10039" y="28"/>
                      </a:cubicBezTo>
                      <a:cubicBezTo>
                        <a:pt x="10440" y="-16"/>
                        <a:pt x="10841" y="3"/>
                        <a:pt x="11243" y="9"/>
                      </a:cubicBezTo>
                      <a:cubicBezTo>
                        <a:pt x="11312" y="9"/>
                        <a:pt x="11343" y="59"/>
                        <a:pt x="11355" y="122"/>
                      </a:cubicBezTo>
                      <a:cubicBezTo>
                        <a:pt x="11437" y="528"/>
                        <a:pt x="11525" y="935"/>
                        <a:pt x="11594" y="1348"/>
                      </a:cubicBezTo>
                      <a:cubicBezTo>
                        <a:pt x="11612" y="1461"/>
                        <a:pt x="11581" y="1586"/>
                        <a:pt x="11569" y="1705"/>
                      </a:cubicBezTo>
                      <a:cubicBezTo>
                        <a:pt x="11556" y="1799"/>
                        <a:pt x="11594" y="1842"/>
                        <a:pt x="11694" y="1855"/>
                      </a:cubicBezTo>
                      <a:cubicBezTo>
                        <a:pt x="12171" y="1905"/>
                        <a:pt x="12647" y="1993"/>
                        <a:pt x="13111" y="2118"/>
                      </a:cubicBezTo>
                      <a:cubicBezTo>
                        <a:pt x="13186" y="2136"/>
                        <a:pt x="13261" y="2143"/>
                        <a:pt x="13287" y="2043"/>
                      </a:cubicBezTo>
                      <a:cubicBezTo>
                        <a:pt x="13387" y="1580"/>
                        <a:pt x="13700" y="1229"/>
                        <a:pt x="13939" y="841"/>
                      </a:cubicBezTo>
                      <a:cubicBezTo>
                        <a:pt x="14127" y="522"/>
                        <a:pt x="14139" y="528"/>
                        <a:pt x="14490" y="660"/>
                      </a:cubicBezTo>
                      <a:cubicBezTo>
                        <a:pt x="14760" y="760"/>
                        <a:pt x="15023" y="873"/>
                        <a:pt x="15287" y="985"/>
                      </a:cubicBezTo>
                      <a:cubicBezTo>
                        <a:pt x="15381" y="1023"/>
                        <a:pt x="15418" y="1073"/>
                        <a:pt x="15400" y="1173"/>
                      </a:cubicBezTo>
                      <a:cubicBezTo>
                        <a:pt x="15318" y="1561"/>
                        <a:pt x="15249" y="1949"/>
                        <a:pt x="15161" y="2337"/>
                      </a:cubicBezTo>
                      <a:cubicBezTo>
                        <a:pt x="15130" y="2468"/>
                        <a:pt x="15048" y="2593"/>
                        <a:pt x="14986" y="2718"/>
                      </a:cubicBezTo>
                      <a:cubicBezTo>
                        <a:pt x="14942" y="2794"/>
                        <a:pt x="14954" y="2837"/>
                        <a:pt x="15036" y="2881"/>
                      </a:cubicBezTo>
                      <a:cubicBezTo>
                        <a:pt x="15475" y="3113"/>
                        <a:pt x="15889" y="3388"/>
                        <a:pt x="16284" y="3688"/>
                      </a:cubicBezTo>
                      <a:cubicBezTo>
                        <a:pt x="16353" y="3745"/>
                        <a:pt x="16403" y="3751"/>
                        <a:pt x="16459" y="3670"/>
                      </a:cubicBezTo>
                      <a:cubicBezTo>
                        <a:pt x="16785" y="3213"/>
                        <a:pt x="17306" y="2987"/>
                        <a:pt x="17738" y="2650"/>
                      </a:cubicBezTo>
                      <a:cubicBezTo>
                        <a:pt x="17795" y="2606"/>
                        <a:pt x="17839" y="2625"/>
                        <a:pt x="17889" y="2668"/>
                      </a:cubicBezTo>
                      <a:cubicBezTo>
                        <a:pt x="18183" y="2925"/>
                        <a:pt x="18459" y="3206"/>
                        <a:pt x="18729" y="3488"/>
                      </a:cubicBezTo>
                      <a:cubicBezTo>
                        <a:pt x="18779" y="3544"/>
                        <a:pt x="18785" y="3594"/>
                        <a:pt x="18741" y="3651"/>
                      </a:cubicBezTo>
                      <a:cubicBezTo>
                        <a:pt x="18509" y="3995"/>
                        <a:pt x="18290" y="4339"/>
                        <a:pt x="18052" y="4677"/>
                      </a:cubicBezTo>
                      <a:cubicBezTo>
                        <a:pt x="17983" y="4777"/>
                        <a:pt x="17870" y="4852"/>
                        <a:pt x="17776" y="4927"/>
                      </a:cubicBezTo>
                      <a:cubicBezTo>
                        <a:pt x="17701" y="4990"/>
                        <a:pt x="17688" y="5046"/>
                        <a:pt x="17751" y="5121"/>
                      </a:cubicBezTo>
                      <a:cubicBezTo>
                        <a:pt x="18058" y="5503"/>
                        <a:pt x="18340" y="5910"/>
                        <a:pt x="18585" y="6335"/>
                      </a:cubicBezTo>
                      <a:cubicBezTo>
                        <a:pt x="18641" y="6429"/>
                        <a:pt x="18698" y="6416"/>
                        <a:pt x="18773" y="6366"/>
                      </a:cubicBezTo>
                      <a:cubicBezTo>
                        <a:pt x="19249" y="6072"/>
                        <a:pt x="19807" y="6066"/>
                        <a:pt x="20328" y="5922"/>
                      </a:cubicBezTo>
                      <a:cubicBezTo>
                        <a:pt x="20397" y="5903"/>
                        <a:pt x="20434" y="5941"/>
                        <a:pt x="20459" y="6003"/>
                      </a:cubicBezTo>
                      <a:cubicBezTo>
                        <a:pt x="20629" y="6354"/>
                        <a:pt x="20785" y="6717"/>
                        <a:pt x="20923" y="7080"/>
                      </a:cubicBezTo>
                      <a:cubicBezTo>
                        <a:pt x="20948" y="7155"/>
                        <a:pt x="20930" y="7199"/>
                        <a:pt x="20867" y="7236"/>
                      </a:cubicBezTo>
                      <a:cubicBezTo>
                        <a:pt x="20528" y="7461"/>
                        <a:pt x="20196" y="7693"/>
                        <a:pt x="19845" y="7912"/>
                      </a:cubicBezTo>
                      <a:cubicBezTo>
                        <a:pt x="19732" y="7981"/>
                        <a:pt x="19594" y="8012"/>
                        <a:pt x="19462" y="8050"/>
                      </a:cubicBezTo>
                      <a:cubicBezTo>
                        <a:pt x="19381" y="8075"/>
                        <a:pt x="19356" y="8112"/>
                        <a:pt x="19381" y="8200"/>
                      </a:cubicBezTo>
                      <a:cubicBezTo>
                        <a:pt x="19519" y="8675"/>
                        <a:pt x="19626" y="9157"/>
                        <a:pt x="19688" y="9651"/>
                      </a:cubicBezTo>
                      <a:cubicBezTo>
                        <a:pt x="19701" y="9739"/>
                        <a:pt x="19738" y="9770"/>
                        <a:pt x="19820" y="9758"/>
                      </a:cubicBezTo>
                      <a:cubicBezTo>
                        <a:pt x="20372" y="9676"/>
                        <a:pt x="20892" y="9877"/>
                        <a:pt x="21431" y="9939"/>
                      </a:cubicBezTo>
                      <a:cubicBezTo>
                        <a:pt x="21506" y="9946"/>
                        <a:pt x="21538" y="9989"/>
                        <a:pt x="21550" y="10064"/>
                      </a:cubicBezTo>
                      <a:cubicBezTo>
                        <a:pt x="21588" y="10459"/>
                        <a:pt x="21569" y="10859"/>
                        <a:pt x="21569" y="11253"/>
                      </a:cubicBezTo>
                      <a:cubicBezTo>
                        <a:pt x="21569" y="11322"/>
                        <a:pt x="21525" y="11353"/>
                        <a:pt x="21463" y="11366"/>
                      </a:cubicBezTo>
                      <a:cubicBezTo>
                        <a:pt x="21049" y="11447"/>
                        <a:pt x="20635" y="11535"/>
                        <a:pt x="20215" y="11610"/>
                      </a:cubicBezTo>
                      <a:cubicBezTo>
                        <a:pt x="20108" y="11629"/>
                        <a:pt x="19995" y="11597"/>
                        <a:pt x="19889" y="11585"/>
                      </a:cubicBezTo>
                      <a:cubicBezTo>
                        <a:pt x="19782" y="11572"/>
                        <a:pt x="19726" y="11597"/>
                        <a:pt x="19713" y="11723"/>
                      </a:cubicBezTo>
                      <a:cubicBezTo>
                        <a:pt x="19663" y="12192"/>
                        <a:pt x="19575" y="12661"/>
                        <a:pt x="19456" y="13118"/>
                      </a:cubicBezTo>
                      <a:cubicBezTo>
                        <a:pt x="19425" y="13231"/>
                        <a:pt x="19462" y="13287"/>
                        <a:pt x="19569" y="13312"/>
                      </a:cubicBezTo>
                      <a:cubicBezTo>
                        <a:pt x="20108" y="13443"/>
                        <a:pt x="20503" y="13831"/>
                        <a:pt x="20974" y="14088"/>
                      </a:cubicBezTo>
                      <a:cubicBezTo>
                        <a:pt x="21036" y="14125"/>
                        <a:pt x="21036" y="14175"/>
                        <a:pt x="21011" y="14238"/>
                      </a:cubicBezTo>
                      <a:cubicBezTo>
                        <a:pt x="20886" y="14607"/>
                        <a:pt x="20735" y="14970"/>
                        <a:pt x="20579" y="15327"/>
                      </a:cubicBezTo>
                      <a:cubicBezTo>
                        <a:pt x="20547" y="15396"/>
                        <a:pt x="20503" y="15421"/>
                        <a:pt x="20428" y="15402"/>
                      </a:cubicBezTo>
                      <a:cubicBezTo>
                        <a:pt x="20027" y="15321"/>
                        <a:pt x="19619" y="15245"/>
                        <a:pt x="19218" y="15158"/>
                      </a:cubicBezTo>
                      <a:cubicBezTo>
                        <a:pt x="19093" y="15127"/>
                        <a:pt x="18980" y="15051"/>
                        <a:pt x="18867" y="14989"/>
                      </a:cubicBezTo>
                      <a:cubicBezTo>
                        <a:pt x="18785" y="14945"/>
                        <a:pt x="18741" y="14951"/>
                        <a:pt x="18691" y="15039"/>
                      </a:cubicBezTo>
                      <a:cubicBezTo>
                        <a:pt x="18459" y="15464"/>
                        <a:pt x="18202" y="15877"/>
                        <a:pt x="17901" y="16259"/>
                      </a:cubicBezTo>
                      <a:cubicBezTo>
                        <a:pt x="17832" y="16347"/>
                        <a:pt x="17820" y="16403"/>
                        <a:pt x="17926" y="16472"/>
                      </a:cubicBezTo>
                      <a:cubicBezTo>
                        <a:pt x="18259" y="16685"/>
                        <a:pt x="18422" y="17041"/>
                        <a:pt x="18654" y="17342"/>
                      </a:cubicBezTo>
                      <a:cubicBezTo>
                        <a:pt x="18698" y="17398"/>
                        <a:pt x="18735" y="17460"/>
                        <a:pt x="18779" y="17523"/>
                      </a:cubicBezTo>
                      <a:cubicBezTo>
                        <a:pt x="19030" y="17886"/>
                        <a:pt x="19017" y="17761"/>
                        <a:pt x="18748" y="18067"/>
                      </a:cubicBezTo>
                      <a:cubicBezTo>
                        <a:pt x="18553" y="18293"/>
                        <a:pt x="18328" y="18493"/>
                        <a:pt x="18121" y="18706"/>
                      </a:cubicBezTo>
                      <a:cubicBezTo>
                        <a:pt x="18045" y="18787"/>
                        <a:pt x="17983" y="18787"/>
                        <a:pt x="17889" y="18724"/>
                      </a:cubicBezTo>
                      <a:cubicBezTo>
                        <a:pt x="17575" y="18512"/>
                        <a:pt x="17255" y="18299"/>
                        <a:pt x="16936" y="18092"/>
                      </a:cubicBezTo>
                      <a:cubicBezTo>
                        <a:pt x="16817" y="18011"/>
                        <a:pt x="16735" y="17892"/>
                        <a:pt x="16647" y="17786"/>
                      </a:cubicBezTo>
                      <a:cubicBezTo>
                        <a:pt x="16578" y="17705"/>
                        <a:pt x="16522" y="17692"/>
                        <a:pt x="16440" y="17761"/>
                      </a:cubicBezTo>
                      <a:cubicBezTo>
                        <a:pt x="16064" y="18067"/>
                        <a:pt x="15663" y="18343"/>
                        <a:pt x="15243" y="18587"/>
                      </a:cubicBezTo>
                      <a:cubicBezTo>
                        <a:pt x="15186" y="18618"/>
                        <a:pt x="15124" y="18649"/>
                        <a:pt x="15174" y="18731"/>
                      </a:cubicBezTo>
                      <a:cubicBezTo>
                        <a:pt x="15462" y="19162"/>
                        <a:pt x="15481" y="19676"/>
                        <a:pt x="15606" y="20157"/>
                      </a:cubicBezTo>
                      <a:cubicBezTo>
                        <a:pt x="15682" y="20439"/>
                        <a:pt x="15701" y="20401"/>
                        <a:pt x="15418" y="20533"/>
                      </a:cubicBezTo>
                      <a:cubicBezTo>
                        <a:pt x="15124" y="20670"/>
                        <a:pt x="14823" y="20789"/>
                        <a:pt x="14528" y="20914"/>
                      </a:cubicBezTo>
                      <a:cubicBezTo>
                        <a:pt x="14434" y="20952"/>
                        <a:pt x="14378" y="20939"/>
                        <a:pt x="14321" y="20852"/>
                      </a:cubicBezTo>
                      <a:cubicBezTo>
                        <a:pt x="14108" y="20527"/>
                        <a:pt x="13888" y="20214"/>
                        <a:pt x="13675" y="19888"/>
                      </a:cubicBezTo>
                      <a:cubicBezTo>
                        <a:pt x="13594" y="19763"/>
                        <a:pt x="13562" y="19619"/>
                        <a:pt x="13525" y="19482"/>
                      </a:cubicBezTo>
                      <a:cubicBezTo>
                        <a:pt x="13500" y="19394"/>
                        <a:pt x="13456" y="19369"/>
                        <a:pt x="13362" y="19394"/>
                      </a:cubicBezTo>
                      <a:cubicBezTo>
                        <a:pt x="12885" y="19538"/>
                        <a:pt x="12403" y="19638"/>
                        <a:pt x="11907" y="19701"/>
                      </a:cubicBezTo>
                      <a:cubicBezTo>
                        <a:pt x="11826" y="19713"/>
                        <a:pt x="11801" y="19751"/>
                        <a:pt x="11813" y="19826"/>
                      </a:cubicBezTo>
                      <a:cubicBezTo>
                        <a:pt x="11901" y="20376"/>
                        <a:pt x="11700" y="20896"/>
                        <a:pt x="11638" y="21434"/>
                      </a:cubicBezTo>
                      <a:cubicBezTo>
                        <a:pt x="11625" y="21528"/>
                        <a:pt x="11575" y="21559"/>
                        <a:pt x="11493" y="21559"/>
                      </a:cubicBezTo>
                      <a:cubicBezTo>
                        <a:pt x="11293" y="21565"/>
                        <a:pt x="11086" y="21578"/>
                        <a:pt x="10885" y="21584"/>
                      </a:cubicBezTo>
                      <a:cubicBezTo>
                        <a:pt x="10873" y="21540"/>
                        <a:pt x="10873" y="21540"/>
                        <a:pt x="10873" y="21534"/>
                      </a:cubicBezTo>
                      <a:close/>
                      <a:moveTo>
                        <a:pt x="10822" y="17642"/>
                      </a:moveTo>
                      <a:cubicBezTo>
                        <a:pt x="14572" y="17579"/>
                        <a:pt x="17669" y="14645"/>
                        <a:pt x="17650" y="10721"/>
                      </a:cubicBezTo>
                      <a:cubicBezTo>
                        <a:pt x="17638" y="6973"/>
                        <a:pt x="14647" y="3882"/>
                        <a:pt x="10710" y="3907"/>
                      </a:cubicBezTo>
                      <a:cubicBezTo>
                        <a:pt x="6948" y="3932"/>
                        <a:pt x="3869" y="6923"/>
                        <a:pt x="3894" y="10834"/>
                      </a:cubicBezTo>
                      <a:cubicBezTo>
                        <a:pt x="3926" y="14582"/>
                        <a:pt x="6916" y="17611"/>
                        <a:pt x="10822" y="17642"/>
                      </a:cubicBezTo>
                      <a:close/>
                    </a:path>
                  </a:pathLst>
                </a:custGeom>
                <a:solidFill>
                  <a:srgbClr val="D4D4D4">
                    <a:alpha val="40000"/>
                  </a:srgbClr>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latin typeface="Verdana"/>
                      <a:ea typeface="Verdana"/>
                      <a:cs typeface="Verdana"/>
                      <a:sym typeface="Verdana"/>
                    </a:defRPr>
                  </a:pPr>
                  <a:endParaRPr kumimoji="0" sz="1300" b="0" i="0" u="none" strike="noStrike" kern="1200" cap="none" spc="0" normalizeH="0" baseline="0" noProof="0">
                    <a:ln>
                      <a:noFill/>
                    </a:ln>
                    <a:solidFill>
                      <a:srgbClr val="000000"/>
                    </a:solidFill>
                    <a:effectLst/>
                    <a:uLnTx/>
                    <a:uFillTx/>
                    <a:latin typeface="Verdana"/>
                    <a:ea typeface="Verdana"/>
                    <a:cs typeface="Verdana"/>
                    <a:sym typeface="Verdana"/>
                  </a:endParaRPr>
                </a:p>
              </p:txBody>
            </p:sp>
            <p:sp>
              <p:nvSpPr>
                <p:cNvPr id="79" name="Freeform: Shape 8">
                  <a:extLst>
                    <a:ext uri="{FF2B5EF4-FFF2-40B4-BE49-F238E27FC236}">
                      <a16:creationId xmlns:a16="http://schemas.microsoft.com/office/drawing/2014/main" id="{BD01DCC1-76A0-439F-9695-65625F3D97DD}"/>
                    </a:ext>
                  </a:extLst>
                </p:cNvPr>
                <p:cNvSpPr/>
                <p:nvPr/>
              </p:nvSpPr>
              <p:spPr>
                <a:xfrm rot="2246763">
                  <a:off x="993420" y="990143"/>
                  <a:ext cx="1003182" cy="1002564"/>
                </a:xfrm>
                <a:custGeom>
                  <a:avLst/>
                  <a:gdLst/>
                  <a:ahLst/>
                  <a:cxnLst>
                    <a:cxn ang="0">
                      <a:pos x="wd2" y="hd2"/>
                    </a:cxn>
                    <a:cxn ang="5400000">
                      <a:pos x="wd2" y="hd2"/>
                    </a:cxn>
                    <a:cxn ang="10800000">
                      <a:pos x="wd2" y="hd2"/>
                    </a:cxn>
                    <a:cxn ang="16200000">
                      <a:pos x="wd2" y="hd2"/>
                    </a:cxn>
                  </a:cxnLst>
                  <a:rect l="0" t="0" r="r" b="b"/>
                  <a:pathLst>
                    <a:path w="21587" h="21587" extrusionOk="0">
                      <a:moveTo>
                        <a:pt x="21587" y="10800"/>
                      </a:moveTo>
                      <a:cubicBezTo>
                        <a:pt x="21507" y="16819"/>
                        <a:pt x="16796" y="21600"/>
                        <a:pt x="10794" y="21587"/>
                      </a:cubicBezTo>
                      <a:cubicBezTo>
                        <a:pt x="4712" y="21587"/>
                        <a:pt x="-13" y="16766"/>
                        <a:pt x="0" y="10773"/>
                      </a:cubicBezTo>
                      <a:cubicBezTo>
                        <a:pt x="14" y="4688"/>
                        <a:pt x="4831" y="0"/>
                        <a:pt x="10807" y="0"/>
                      </a:cubicBezTo>
                      <a:cubicBezTo>
                        <a:pt x="16809" y="13"/>
                        <a:pt x="21507" y="4807"/>
                        <a:pt x="21587" y="10800"/>
                      </a:cubicBezTo>
                      <a:close/>
                    </a:path>
                  </a:pathLst>
                </a:custGeom>
                <a:solidFill>
                  <a:srgbClr val="D4D4D4">
                    <a:alpha val="40000"/>
                  </a:srgbClr>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latin typeface="Verdana"/>
                      <a:ea typeface="Verdana"/>
                      <a:cs typeface="Verdana"/>
                      <a:sym typeface="Verdana"/>
                    </a:defRPr>
                  </a:pPr>
                  <a:endParaRPr kumimoji="0" sz="1300" b="0" i="0" u="none" strike="noStrike" kern="1200" cap="none" spc="0" normalizeH="0" baseline="0" noProof="0">
                    <a:ln>
                      <a:noFill/>
                    </a:ln>
                    <a:solidFill>
                      <a:srgbClr val="000000"/>
                    </a:solidFill>
                    <a:effectLst/>
                    <a:uLnTx/>
                    <a:uFillTx/>
                    <a:latin typeface="Verdana"/>
                    <a:ea typeface="Verdana"/>
                    <a:cs typeface="Verdana"/>
                    <a:sym typeface="Verdana"/>
                  </a:endParaRPr>
                </a:p>
              </p:txBody>
            </p:sp>
          </p:grpSp>
          <p:sp>
            <p:nvSpPr>
              <p:cNvPr id="77" name="Freeform: Shape 6">
                <a:extLst>
                  <a:ext uri="{FF2B5EF4-FFF2-40B4-BE49-F238E27FC236}">
                    <a16:creationId xmlns:a16="http://schemas.microsoft.com/office/drawing/2014/main" id="{66DB6A48-36C5-44BB-8F4B-C5A9786F6699}"/>
                  </a:ext>
                </a:extLst>
              </p:cNvPr>
              <p:cNvSpPr/>
              <p:nvPr/>
            </p:nvSpPr>
            <p:spPr>
              <a:xfrm rot="2246763">
                <a:off x="1859129" y="240440"/>
                <a:ext cx="1197474" cy="1199566"/>
              </a:xfrm>
              <a:custGeom>
                <a:avLst/>
                <a:gdLst/>
                <a:ahLst/>
                <a:cxnLst>
                  <a:cxn ang="0">
                    <a:pos x="wd2" y="hd2"/>
                  </a:cxn>
                  <a:cxn ang="5400000">
                    <a:pos x="wd2" y="hd2"/>
                  </a:cxn>
                  <a:cxn ang="10800000">
                    <a:pos x="wd2" y="hd2"/>
                  </a:cxn>
                  <a:cxn ang="16200000">
                    <a:pos x="wd2" y="hd2"/>
                  </a:cxn>
                </a:cxnLst>
                <a:rect l="0" t="0" r="r" b="b"/>
                <a:pathLst>
                  <a:path w="21528" h="21566" extrusionOk="0">
                    <a:moveTo>
                      <a:pt x="11604" y="21559"/>
                    </a:moveTo>
                    <a:cubicBezTo>
                      <a:pt x="11487" y="21588"/>
                      <a:pt x="11436" y="21522"/>
                      <a:pt x="11392" y="21405"/>
                    </a:cubicBezTo>
                    <a:cubicBezTo>
                      <a:pt x="11297" y="21097"/>
                      <a:pt x="11187" y="20790"/>
                      <a:pt x="11084" y="20482"/>
                    </a:cubicBezTo>
                    <a:cubicBezTo>
                      <a:pt x="10996" y="20218"/>
                      <a:pt x="11040" y="19940"/>
                      <a:pt x="11026" y="19662"/>
                    </a:cubicBezTo>
                    <a:cubicBezTo>
                      <a:pt x="11018" y="19442"/>
                      <a:pt x="11011" y="19449"/>
                      <a:pt x="10791" y="19442"/>
                    </a:cubicBezTo>
                    <a:cubicBezTo>
                      <a:pt x="10484" y="19442"/>
                      <a:pt x="10169" y="19420"/>
                      <a:pt x="9861" y="19398"/>
                    </a:cubicBezTo>
                    <a:cubicBezTo>
                      <a:pt x="9700" y="19383"/>
                      <a:pt x="9605" y="19391"/>
                      <a:pt x="9605" y="19588"/>
                    </a:cubicBezTo>
                    <a:cubicBezTo>
                      <a:pt x="9605" y="20218"/>
                      <a:pt x="9304" y="20760"/>
                      <a:pt x="9055" y="21317"/>
                    </a:cubicBezTo>
                    <a:cubicBezTo>
                      <a:pt x="9011" y="21420"/>
                      <a:pt x="8953" y="21442"/>
                      <a:pt x="8843" y="21420"/>
                    </a:cubicBezTo>
                    <a:cubicBezTo>
                      <a:pt x="7898" y="21244"/>
                      <a:pt x="6990" y="20943"/>
                      <a:pt x="6111" y="20548"/>
                    </a:cubicBezTo>
                    <a:cubicBezTo>
                      <a:pt x="6008" y="20497"/>
                      <a:pt x="5964" y="20445"/>
                      <a:pt x="5994" y="20321"/>
                    </a:cubicBezTo>
                    <a:cubicBezTo>
                      <a:pt x="6067" y="20006"/>
                      <a:pt x="6118" y="19684"/>
                      <a:pt x="6184" y="19369"/>
                    </a:cubicBezTo>
                    <a:cubicBezTo>
                      <a:pt x="6243" y="19083"/>
                      <a:pt x="6426" y="18849"/>
                      <a:pt x="6558" y="18600"/>
                    </a:cubicBezTo>
                    <a:cubicBezTo>
                      <a:pt x="6631" y="18460"/>
                      <a:pt x="6616" y="18395"/>
                      <a:pt x="6477" y="18314"/>
                    </a:cubicBezTo>
                    <a:cubicBezTo>
                      <a:pt x="6184" y="18145"/>
                      <a:pt x="5899" y="17955"/>
                      <a:pt x="5613" y="17765"/>
                    </a:cubicBezTo>
                    <a:cubicBezTo>
                      <a:pt x="5510" y="17691"/>
                      <a:pt x="5444" y="17691"/>
                      <a:pt x="5378" y="17801"/>
                    </a:cubicBezTo>
                    <a:cubicBezTo>
                      <a:pt x="5056" y="18358"/>
                      <a:pt x="4529" y="18702"/>
                      <a:pt x="4023" y="19054"/>
                    </a:cubicBezTo>
                    <a:cubicBezTo>
                      <a:pt x="3921" y="19120"/>
                      <a:pt x="3862" y="19112"/>
                      <a:pt x="3774" y="19039"/>
                    </a:cubicBezTo>
                    <a:cubicBezTo>
                      <a:pt x="3042" y="18416"/>
                      <a:pt x="2405" y="17699"/>
                      <a:pt x="1848" y="16915"/>
                    </a:cubicBezTo>
                    <a:cubicBezTo>
                      <a:pt x="1782" y="16827"/>
                      <a:pt x="1775" y="16761"/>
                      <a:pt x="1855" y="16673"/>
                    </a:cubicBezTo>
                    <a:cubicBezTo>
                      <a:pt x="2082" y="16424"/>
                      <a:pt x="2288" y="16161"/>
                      <a:pt x="2522" y="15919"/>
                    </a:cubicBezTo>
                    <a:cubicBezTo>
                      <a:pt x="2712" y="15721"/>
                      <a:pt x="2969" y="15604"/>
                      <a:pt x="3203" y="15465"/>
                    </a:cubicBezTo>
                    <a:cubicBezTo>
                      <a:pt x="3357" y="15377"/>
                      <a:pt x="3364" y="15304"/>
                      <a:pt x="3276" y="15150"/>
                    </a:cubicBezTo>
                    <a:cubicBezTo>
                      <a:pt x="3108" y="14864"/>
                      <a:pt x="2961" y="14556"/>
                      <a:pt x="2815" y="14256"/>
                    </a:cubicBezTo>
                    <a:cubicBezTo>
                      <a:pt x="2764" y="14154"/>
                      <a:pt x="2727" y="14102"/>
                      <a:pt x="2610" y="14168"/>
                    </a:cubicBezTo>
                    <a:cubicBezTo>
                      <a:pt x="2090" y="14439"/>
                      <a:pt x="1533" y="14549"/>
                      <a:pt x="954" y="14564"/>
                    </a:cubicBezTo>
                    <a:cubicBezTo>
                      <a:pt x="903" y="14564"/>
                      <a:pt x="845" y="14578"/>
                      <a:pt x="793" y="14586"/>
                    </a:cubicBezTo>
                    <a:cubicBezTo>
                      <a:pt x="691" y="14600"/>
                      <a:pt x="625" y="14564"/>
                      <a:pt x="588" y="14454"/>
                    </a:cubicBezTo>
                    <a:cubicBezTo>
                      <a:pt x="303" y="13641"/>
                      <a:pt x="90" y="12806"/>
                      <a:pt x="17" y="11949"/>
                    </a:cubicBezTo>
                    <a:cubicBezTo>
                      <a:pt x="-27" y="11480"/>
                      <a:pt x="-20" y="11487"/>
                      <a:pt x="434" y="11319"/>
                    </a:cubicBezTo>
                    <a:cubicBezTo>
                      <a:pt x="911" y="11136"/>
                      <a:pt x="1401" y="11011"/>
                      <a:pt x="1914" y="11055"/>
                    </a:cubicBezTo>
                    <a:cubicBezTo>
                      <a:pt x="2046" y="11063"/>
                      <a:pt x="2090" y="11004"/>
                      <a:pt x="2090" y="10872"/>
                    </a:cubicBezTo>
                    <a:cubicBezTo>
                      <a:pt x="2090" y="10543"/>
                      <a:pt x="2104" y="10213"/>
                      <a:pt x="2134" y="9883"/>
                    </a:cubicBezTo>
                    <a:cubicBezTo>
                      <a:pt x="2148" y="9737"/>
                      <a:pt x="2141" y="9634"/>
                      <a:pt x="1951" y="9634"/>
                    </a:cubicBezTo>
                    <a:cubicBezTo>
                      <a:pt x="1313" y="9634"/>
                      <a:pt x="764" y="9334"/>
                      <a:pt x="207" y="9078"/>
                    </a:cubicBezTo>
                    <a:cubicBezTo>
                      <a:pt x="112" y="9034"/>
                      <a:pt x="90" y="8975"/>
                      <a:pt x="112" y="8873"/>
                    </a:cubicBezTo>
                    <a:cubicBezTo>
                      <a:pt x="288" y="7928"/>
                      <a:pt x="581" y="7020"/>
                      <a:pt x="984" y="6141"/>
                    </a:cubicBezTo>
                    <a:cubicBezTo>
                      <a:pt x="1035" y="6031"/>
                      <a:pt x="1094" y="5987"/>
                      <a:pt x="1225" y="6016"/>
                    </a:cubicBezTo>
                    <a:cubicBezTo>
                      <a:pt x="1526" y="6082"/>
                      <a:pt x="1833" y="6141"/>
                      <a:pt x="2141" y="6199"/>
                    </a:cubicBezTo>
                    <a:cubicBezTo>
                      <a:pt x="2434" y="6258"/>
                      <a:pt x="2668" y="6441"/>
                      <a:pt x="2932" y="6580"/>
                    </a:cubicBezTo>
                    <a:cubicBezTo>
                      <a:pt x="3079" y="6653"/>
                      <a:pt x="3145" y="6639"/>
                      <a:pt x="3232" y="6492"/>
                    </a:cubicBezTo>
                    <a:cubicBezTo>
                      <a:pt x="3401" y="6199"/>
                      <a:pt x="3591" y="5914"/>
                      <a:pt x="3789" y="5628"/>
                    </a:cubicBezTo>
                    <a:cubicBezTo>
                      <a:pt x="3855" y="5533"/>
                      <a:pt x="3855" y="5467"/>
                      <a:pt x="3752" y="5408"/>
                    </a:cubicBezTo>
                    <a:cubicBezTo>
                      <a:pt x="3196" y="5079"/>
                      <a:pt x="2844" y="4551"/>
                      <a:pt x="2485" y="4038"/>
                    </a:cubicBezTo>
                    <a:cubicBezTo>
                      <a:pt x="2419" y="3943"/>
                      <a:pt x="2427" y="3885"/>
                      <a:pt x="2500" y="3804"/>
                    </a:cubicBezTo>
                    <a:cubicBezTo>
                      <a:pt x="3123" y="3072"/>
                      <a:pt x="3833" y="2434"/>
                      <a:pt x="4617" y="1878"/>
                    </a:cubicBezTo>
                    <a:cubicBezTo>
                      <a:pt x="4712" y="1812"/>
                      <a:pt x="4778" y="1797"/>
                      <a:pt x="4873" y="1885"/>
                    </a:cubicBezTo>
                    <a:cubicBezTo>
                      <a:pt x="5115" y="2105"/>
                      <a:pt x="5371" y="2310"/>
                      <a:pt x="5613" y="2537"/>
                    </a:cubicBezTo>
                    <a:cubicBezTo>
                      <a:pt x="5811" y="2720"/>
                      <a:pt x="5906" y="2969"/>
                      <a:pt x="6052" y="3189"/>
                    </a:cubicBezTo>
                    <a:cubicBezTo>
                      <a:pt x="6213" y="3431"/>
                      <a:pt x="6177" y="3416"/>
                      <a:pt x="6404" y="3284"/>
                    </a:cubicBezTo>
                    <a:cubicBezTo>
                      <a:pt x="6682" y="3123"/>
                      <a:pt x="6975" y="2976"/>
                      <a:pt x="7268" y="2845"/>
                    </a:cubicBezTo>
                    <a:cubicBezTo>
                      <a:pt x="7400" y="2786"/>
                      <a:pt x="7415" y="2727"/>
                      <a:pt x="7356" y="2610"/>
                    </a:cubicBezTo>
                    <a:cubicBezTo>
                      <a:pt x="7085" y="2105"/>
                      <a:pt x="6990" y="1555"/>
                      <a:pt x="6975" y="991"/>
                    </a:cubicBezTo>
                    <a:cubicBezTo>
                      <a:pt x="6975" y="940"/>
                      <a:pt x="6961" y="882"/>
                      <a:pt x="6953" y="830"/>
                    </a:cubicBezTo>
                    <a:cubicBezTo>
                      <a:pt x="6931" y="713"/>
                      <a:pt x="6975" y="655"/>
                      <a:pt x="7092" y="611"/>
                    </a:cubicBezTo>
                    <a:cubicBezTo>
                      <a:pt x="7993" y="288"/>
                      <a:pt x="8924" y="91"/>
                      <a:pt x="9876" y="3"/>
                    </a:cubicBezTo>
                    <a:cubicBezTo>
                      <a:pt x="10022" y="-12"/>
                      <a:pt x="10088" y="32"/>
                      <a:pt x="10125" y="171"/>
                    </a:cubicBezTo>
                    <a:cubicBezTo>
                      <a:pt x="10154" y="281"/>
                      <a:pt x="10191" y="391"/>
                      <a:pt x="10235" y="501"/>
                    </a:cubicBezTo>
                    <a:cubicBezTo>
                      <a:pt x="10425" y="955"/>
                      <a:pt x="10520" y="1416"/>
                      <a:pt x="10484" y="1907"/>
                    </a:cubicBezTo>
                    <a:cubicBezTo>
                      <a:pt x="10469" y="2068"/>
                      <a:pt x="10535" y="2112"/>
                      <a:pt x="10696" y="2112"/>
                    </a:cubicBezTo>
                    <a:cubicBezTo>
                      <a:pt x="11011" y="2105"/>
                      <a:pt x="11326" y="2127"/>
                      <a:pt x="11648" y="2156"/>
                    </a:cubicBezTo>
                    <a:cubicBezTo>
                      <a:pt x="11809" y="2171"/>
                      <a:pt x="11905" y="2163"/>
                      <a:pt x="11905" y="1966"/>
                    </a:cubicBezTo>
                    <a:cubicBezTo>
                      <a:pt x="11905" y="1336"/>
                      <a:pt x="12205" y="794"/>
                      <a:pt x="12454" y="237"/>
                    </a:cubicBezTo>
                    <a:cubicBezTo>
                      <a:pt x="12498" y="134"/>
                      <a:pt x="12564" y="113"/>
                      <a:pt x="12666" y="134"/>
                    </a:cubicBezTo>
                    <a:cubicBezTo>
                      <a:pt x="13611" y="310"/>
                      <a:pt x="14519" y="603"/>
                      <a:pt x="15398" y="1006"/>
                    </a:cubicBezTo>
                    <a:cubicBezTo>
                      <a:pt x="15501" y="1057"/>
                      <a:pt x="15545" y="1116"/>
                      <a:pt x="15516" y="1233"/>
                    </a:cubicBezTo>
                    <a:cubicBezTo>
                      <a:pt x="15450" y="1541"/>
                      <a:pt x="15391" y="1856"/>
                      <a:pt x="15325" y="2163"/>
                    </a:cubicBezTo>
                    <a:cubicBezTo>
                      <a:pt x="15267" y="2449"/>
                      <a:pt x="15083" y="2683"/>
                      <a:pt x="14952" y="2932"/>
                    </a:cubicBezTo>
                    <a:cubicBezTo>
                      <a:pt x="14871" y="3086"/>
                      <a:pt x="14886" y="3160"/>
                      <a:pt x="15047" y="3240"/>
                    </a:cubicBezTo>
                    <a:cubicBezTo>
                      <a:pt x="15333" y="3401"/>
                      <a:pt x="15611" y="3584"/>
                      <a:pt x="15875" y="3775"/>
                    </a:cubicBezTo>
                    <a:cubicBezTo>
                      <a:pt x="15992" y="3863"/>
                      <a:pt x="16058" y="3855"/>
                      <a:pt x="16131" y="3731"/>
                    </a:cubicBezTo>
                    <a:cubicBezTo>
                      <a:pt x="16453" y="3174"/>
                      <a:pt x="16988" y="2837"/>
                      <a:pt x="17493" y="2478"/>
                    </a:cubicBezTo>
                    <a:cubicBezTo>
                      <a:pt x="17581" y="2420"/>
                      <a:pt x="17640" y="2427"/>
                      <a:pt x="17713" y="2493"/>
                    </a:cubicBezTo>
                    <a:cubicBezTo>
                      <a:pt x="18453" y="3123"/>
                      <a:pt x="19097" y="3833"/>
                      <a:pt x="19654" y="4624"/>
                    </a:cubicBezTo>
                    <a:cubicBezTo>
                      <a:pt x="19720" y="4712"/>
                      <a:pt x="19727" y="4778"/>
                      <a:pt x="19647" y="4866"/>
                    </a:cubicBezTo>
                    <a:cubicBezTo>
                      <a:pt x="19420" y="5122"/>
                      <a:pt x="19200" y="5386"/>
                      <a:pt x="18965" y="5635"/>
                    </a:cubicBezTo>
                    <a:cubicBezTo>
                      <a:pt x="18790" y="5818"/>
                      <a:pt x="18541" y="5921"/>
                      <a:pt x="18328" y="6060"/>
                    </a:cubicBezTo>
                    <a:cubicBezTo>
                      <a:pt x="18123" y="6199"/>
                      <a:pt x="18123" y="6192"/>
                      <a:pt x="18240" y="6404"/>
                    </a:cubicBezTo>
                    <a:cubicBezTo>
                      <a:pt x="18394" y="6697"/>
                      <a:pt x="18548" y="6990"/>
                      <a:pt x="18687" y="7283"/>
                    </a:cubicBezTo>
                    <a:cubicBezTo>
                      <a:pt x="18738" y="7386"/>
                      <a:pt x="18782" y="7430"/>
                      <a:pt x="18892" y="7371"/>
                    </a:cubicBezTo>
                    <a:cubicBezTo>
                      <a:pt x="19412" y="7100"/>
                      <a:pt x="19969" y="6990"/>
                      <a:pt x="20548" y="6976"/>
                    </a:cubicBezTo>
                    <a:cubicBezTo>
                      <a:pt x="20599" y="6976"/>
                      <a:pt x="20657" y="6961"/>
                      <a:pt x="20709" y="6954"/>
                    </a:cubicBezTo>
                    <a:cubicBezTo>
                      <a:pt x="20819" y="6939"/>
                      <a:pt x="20877" y="6976"/>
                      <a:pt x="20914" y="7085"/>
                    </a:cubicBezTo>
                    <a:cubicBezTo>
                      <a:pt x="21199" y="7898"/>
                      <a:pt x="21412" y="8733"/>
                      <a:pt x="21485" y="9590"/>
                    </a:cubicBezTo>
                    <a:cubicBezTo>
                      <a:pt x="21485" y="9605"/>
                      <a:pt x="21485" y="9627"/>
                      <a:pt x="21492" y="9642"/>
                    </a:cubicBezTo>
                    <a:cubicBezTo>
                      <a:pt x="21558" y="10140"/>
                      <a:pt x="21573" y="10023"/>
                      <a:pt x="21156" y="10184"/>
                    </a:cubicBezTo>
                    <a:cubicBezTo>
                      <a:pt x="20650" y="10374"/>
                      <a:pt x="20137" y="10528"/>
                      <a:pt x="19588" y="10477"/>
                    </a:cubicBezTo>
                    <a:cubicBezTo>
                      <a:pt x="19464" y="10462"/>
                      <a:pt x="19420" y="10513"/>
                      <a:pt x="19412" y="10645"/>
                    </a:cubicBezTo>
                    <a:cubicBezTo>
                      <a:pt x="19405" y="10989"/>
                      <a:pt x="19390" y="11326"/>
                      <a:pt x="19361" y="11671"/>
                    </a:cubicBezTo>
                    <a:cubicBezTo>
                      <a:pt x="19354" y="11810"/>
                      <a:pt x="19361" y="11898"/>
                      <a:pt x="19529" y="11898"/>
                    </a:cubicBezTo>
                    <a:cubicBezTo>
                      <a:pt x="20167" y="11898"/>
                      <a:pt x="20716" y="12191"/>
                      <a:pt x="21273" y="12447"/>
                    </a:cubicBezTo>
                    <a:cubicBezTo>
                      <a:pt x="21368" y="12491"/>
                      <a:pt x="21405" y="12542"/>
                      <a:pt x="21383" y="12659"/>
                    </a:cubicBezTo>
                    <a:cubicBezTo>
                      <a:pt x="21207" y="13612"/>
                      <a:pt x="20906" y="14527"/>
                      <a:pt x="20504" y="15406"/>
                    </a:cubicBezTo>
                    <a:cubicBezTo>
                      <a:pt x="20460" y="15509"/>
                      <a:pt x="20401" y="15538"/>
                      <a:pt x="20291" y="15516"/>
                    </a:cubicBezTo>
                    <a:cubicBezTo>
                      <a:pt x="19683" y="15406"/>
                      <a:pt x="19075" y="15311"/>
                      <a:pt x="18548" y="14945"/>
                    </a:cubicBezTo>
                    <a:cubicBezTo>
                      <a:pt x="18423" y="14857"/>
                      <a:pt x="18358" y="14886"/>
                      <a:pt x="18277" y="15018"/>
                    </a:cubicBezTo>
                    <a:cubicBezTo>
                      <a:pt x="18109" y="15311"/>
                      <a:pt x="17918" y="15597"/>
                      <a:pt x="17728" y="15882"/>
                    </a:cubicBezTo>
                    <a:cubicBezTo>
                      <a:pt x="17662" y="15977"/>
                      <a:pt x="17632" y="16043"/>
                      <a:pt x="17750" y="16117"/>
                    </a:cubicBezTo>
                    <a:cubicBezTo>
                      <a:pt x="18306" y="16446"/>
                      <a:pt x="18651" y="16959"/>
                      <a:pt x="19009" y="17472"/>
                    </a:cubicBezTo>
                    <a:cubicBezTo>
                      <a:pt x="19083" y="17574"/>
                      <a:pt x="19075" y="17640"/>
                      <a:pt x="18987" y="17735"/>
                    </a:cubicBezTo>
                    <a:cubicBezTo>
                      <a:pt x="18365" y="18468"/>
                      <a:pt x="17662" y="19098"/>
                      <a:pt x="16878" y="19647"/>
                    </a:cubicBezTo>
                    <a:cubicBezTo>
                      <a:pt x="16783" y="19713"/>
                      <a:pt x="16717" y="19728"/>
                      <a:pt x="16622" y="19640"/>
                    </a:cubicBezTo>
                    <a:cubicBezTo>
                      <a:pt x="16380" y="19420"/>
                      <a:pt x="16124" y="19215"/>
                      <a:pt x="15882" y="18988"/>
                    </a:cubicBezTo>
                    <a:cubicBezTo>
                      <a:pt x="15677" y="18797"/>
                      <a:pt x="15567" y="18541"/>
                      <a:pt x="15428" y="18307"/>
                    </a:cubicBezTo>
                    <a:cubicBezTo>
                      <a:pt x="15333" y="18145"/>
                      <a:pt x="15259" y="18138"/>
                      <a:pt x="15105" y="18233"/>
                    </a:cubicBezTo>
                    <a:cubicBezTo>
                      <a:pt x="14827" y="18402"/>
                      <a:pt x="14527" y="18548"/>
                      <a:pt x="14227" y="18687"/>
                    </a:cubicBezTo>
                    <a:cubicBezTo>
                      <a:pt x="14102" y="18746"/>
                      <a:pt x="14073" y="18805"/>
                      <a:pt x="14139" y="18922"/>
                    </a:cubicBezTo>
                    <a:cubicBezTo>
                      <a:pt x="14410" y="19427"/>
                      <a:pt x="14505" y="19977"/>
                      <a:pt x="14519" y="20541"/>
                    </a:cubicBezTo>
                    <a:cubicBezTo>
                      <a:pt x="14519" y="20599"/>
                      <a:pt x="14534" y="20658"/>
                      <a:pt x="14541" y="20724"/>
                    </a:cubicBezTo>
                    <a:cubicBezTo>
                      <a:pt x="14556" y="20819"/>
                      <a:pt x="14519" y="20878"/>
                      <a:pt x="14417" y="20914"/>
                    </a:cubicBezTo>
                    <a:cubicBezTo>
                      <a:pt x="13780" y="21207"/>
                      <a:pt x="12359" y="21522"/>
                      <a:pt x="11604" y="21559"/>
                    </a:cubicBezTo>
                    <a:close/>
                    <a:moveTo>
                      <a:pt x="10762" y="16300"/>
                    </a:moveTo>
                    <a:cubicBezTo>
                      <a:pt x="13831" y="16248"/>
                      <a:pt x="16255" y="13861"/>
                      <a:pt x="16255" y="10770"/>
                    </a:cubicBezTo>
                    <a:cubicBezTo>
                      <a:pt x="16255" y="7701"/>
                      <a:pt x="13831" y="5269"/>
                      <a:pt x="10747" y="5269"/>
                    </a:cubicBezTo>
                    <a:cubicBezTo>
                      <a:pt x="7664" y="5269"/>
                      <a:pt x="5232" y="7701"/>
                      <a:pt x="5232" y="10784"/>
                    </a:cubicBezTo>
                    <a:cubicBezTo>
                      <a:pt x="5239" y="13883"/>
                      <a:pt x="7686" y="16263"/>
                      <a:pt x="10762" y="16300"/>
                    </a:cubicBezTo>
                    <a:close/>
                  </a:path>
                </a:pathLst>
              </a:custGeom>
              <a:solidFill>
                <a:srgbClr val="D4D4D4">
                  <a:alpha val="40000"/>
                </a:srgbClr>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latin typeface="Verdana"/>
                    <a:ea typeface="Verdana"/>
                    <a:cs typeface="Verdana"/>
                    <a:sym typeface="Verdana"/>
                  </a:defRPr>
                </a:pPr>
                <a:endParaRPr kumimoji="0" sz="1300" b="0" i="0" u="none" strike="noStrike" kern="1200" cap="none" spc="0" normalizeH="0" baseline="0" noProof="0">
                  <a:ln>
                    <a:noFill/>
                  </a:ln>
                  <a:solidFill>
                    <a:srgbClr val="000000"/>
                  </a:solidFill>
                  <a:effectLst/>
                  <a:uLnTx/>
                  <a:uFillTx/>
                  <a:latin typeface="Verdana"/>
                  <a:ea typeface="Verdana"/>
                  <a:cs typeface="Verdana"/>
                  <a:sym typeface="Verdana"/>
                </a:endParaRPr>
              </a:p>
            </p:txBody>
          </p:sp>
        </p:grpSp>
        <p:grpSp>
          <p:nvGrpSpPr>
            <p:cNvPr id="33" name="Group 25">
              <a:extLst>
                <a:ext uri="{FF2B5EF4-FFF2-40B4-BE49-F238E27FC236}">
                  <a16:creationId xmlns:a16="http://schemas.microsoft.com/office/drawing/2014/main" id="{F623433C-7A72-4AF9-BFDE-DA62AAA7ACFF}"/>
                </a:ext>
              </a:extLst>
            </p:cNvPr>
            <p:cNvGrpSpPr/>
            <p:nvPr/>
          </p:nvGrpSpPr>
          <p:grpSpPr>
            <a:xfrm>
              <a:off x="250381" y="4829166"/>
              <a:ext cx="4792043" cy="4320417"/>
              <a:chOff x="0" y="0"/>
              <a:chExt cx="4792041" cy="4320415"/>
            </a:xfrm>
          </p:grpSpPr>
          <p:sp>
            <p:nvSpPr>
              <p:cNvPr id="71" name="Freeform: Shape 10">
                <a:extLst>
                  <a:ext uri="{FF2B5EF4-FFF2-40B4-BE49-F238E27FC236}">
                    <a16:creationId xmlns:a16="http://schemas.microsoft.com/office/drawing/2014/main" id="{4CE052AC-A862-4A9F-BD26-06EC149E7B4C}"/>
                  </a:ext>
                </a:extLst>
              </p:cNvPr>
              <p:cNvSpPr/>
              <p:nvPr/>
            </p:nvSpPr>
            <p:spPr>
              <a:xfrm>
                <a:off x="0" y="2020118"/>
                <a:ext cx="2302148" cy="2300298"/>
              </a:xfrm>
              <a:custGeom>
                <a:avLst/>
                <a:gdLst/>
                <a:ahLst/>
                <a:cxnLst>
                  <a:cxn ang="0">
                    <a:pos x="wd2" y="hd2"/>
                  </a:cxn>
                  <a:cxn ang="5400000">
                    <a:pos x="wd2" y="hd2"/>
                  </a:cxn>
                  <a:cxn ang="10800000">
                    <a:pos x="wd2" y="hd2"/>
                  </a:cxn>
                  <a:cxn ang="16200000">
                    <a:pos x="wd2" y="hd2"/>
                  </a:cxn>
                </a:cxnLst>
                <a:rect l="0" t="0" r="r" b="b"/>
                <a:pathLst>
                  <a:path w="21590" h="21596" extrusionOk="0">
                    <a:moveTo>
                      <a:pt x="0" y="11110"/>
                    </a:moveTo>
                    <a:cubicBezTo>
                      <a:pt x="93" y="10935"/>
                      <a:pt x="238" y="10848"/>
                      <a:pt x="423" y="10802"/>
                    </a:cubicBezTo>
                    <a:cubicBezTo>
                      <a:pt x="922" y="10668"/>
                      <a:pt x="1409" y="10517"/>
                      <a:pt x="1908" y="10384"/>
                    </a:cubicBezTo>
                    <a:cubicBezTo>
                      <a:pt x="2210" y="10302"/>
                      <a:pt x="2390" y="10134"/>
                      <a:pt x="2419" y="9815"/>
                    </a:cubicBezTo>
                    <a:cubicBezTo>
                      <a:pt x="2424" y="9733"/>
                      <a:pt x="2436" y="9652"/>
                      <a:pt x="2448" y="9571"/>
                    </a:cubicBezTo>
                    <a:cubicBezTo>
                      <a:pt x="2477" y="9298"/>
                      <a:pt x="2355" y="9112"/>
                      <a:pt x="2129" y="8979"/>
                    </a:cubicBezTo>
                    <a:cubicBezTo>
                      <a:pt x="1676" y="8717"/>
                      <a:pt x="1230" y="8450"/>
                      <a:pt x="783" y="8189"/>
                    </a:cubicBezTo>
                    <a:cubicBezTo>
                      <a:pt x="452" y="7997"/>
                      <a:pt x="394" y="7852"/>
                      <a:pt x="493" y="7481"/>
                    </a:cubicBezTo>
                    <a:cubicBezTo>
                      <a:pt x="505" y="7446"/>
                      <a:pt x="510" y="7411"/>
                      <a:pt x="522" y="7382"/>
                    </a:cubicBezTo>
                    <a:cubicBezTo>
                      <a:pt x="667" y="6900"/>
                      <a:pt x="795" y="6807"/>
                      <a:pt x="1288" y="6853"/>
                    </a:cubicBezTo>
                    <a:cubicBezTo>
                      <a:pt x="1763" y="6900"/>
                      <a:pt x="2239" y="6952"/>
                      <a:pt x="2715" y="7016"/>
                    </a:cubicBezTo>
                    <a:cubicBezTo>
                      <a:pt x="3092" y="7062"/>
                      <a:pt x="3254" y="6999"/>
                      <a:pt x="3445" y="6679"/>
                    </a:cubicBezTo>
                    <a:cubicBezTo>
                      <a:pt x="3718" y="6238"/>
                      <a:pt x="3706" y="6099"/>
                      <a:pt x="3387" y="5686"/>
                    </a:cubicBezTo>
                    <a:cubicBezTo>
                      <a:pt x="3086" y="5297"/>
                      <a:pt x="2790" y="4902"/>
                      <a:pt x="2500" y="4508"/>
                    </a:cubicBezTo>
                    <a:cubicBezTo>
                      <a:pt x="2326" y="4275"/>
                      <a:pt x="2326" y="4084"/>
                      <a:pt x="2500" y="3851"/>
                    </a:cubicBezTo>
                    <a:cubicBezTo>
                      <a:pt x="2587" y="3735"/>
                      <a:pt x="2680" y="3619"/>
                      <a:pt x="2790" y="3526"/>
                    </a:cubicBezTo>
                    <a:cubicBezTo>
                      <a:pt x="3010" y="3341"/>
                      <a:pt x="3161" y="3317"/>
                      <a:pt x="3411" y="3457"/>
                    </a:cubicBezTo>
                    <a:cubicBezTo>
                      <a:pt x="3851" y="3701"/>
                      <a:pt x="4304" y="3927"/>
                      <a:pt x="4727" y="4200"/>
                    </a:cubicBezTo>
                    <a:cubicBezTo>
                      <a:pt x="5214" y="4513"/>
                      <a:pt x="5551" y="4304"/>
                      <a:pt x="5905" y="3869"/>
                    </a:cubicBezTo>
                    <a:cubicBezTo>
                      <a:pt x="6021" y="3724"/>
                      <a:pt x="5980" y="3532"/>
                      <a:pt x="5934" y="3358"/>
                    </a:cubicBezTo>
                    <a:cubicBezTo>
                      <a:pt x="5806" y="2864"/>
                      <a:pt x="5678" y="2371"/>
                      <a:pt x="5551" y="1877"/>
                    </a:cubicBezTo>
                    <a:cubicBezTo>
                      <a:pt x="5458" y="1523"/>
                      <a:pt x="5516" y="1378"/>
                      <a:pt x="5829" y="1192"/>
                    </a:cubicBezTo>
                    <a:cubicBezTo>
                      <a:pt x="5899" y="1151"/>
                      <a:pt x="5968" y="1111"/>
                      <a:pt x="6044" y="1076"/>
                    </a:cubicBezTo>
                    <a:cubicBezTo>
                      <a:pt x="6421" y="902"/>
                      <a:pt x="6589" y="942"/>
                      <a:pt x="6844" y="1273"/>
                    </a:cubicBezTo>
                    <a:cubicBezTo>
                      <a:pt x="7152" y="1662"/>
                      <a:pt x="7459" y="2057"/>
                      <a:pt x="7766" y="2446"/>
                    </a:cubicBezTo>
                    <a:cubicBezTo>
                      <a:pt x="8057" y="2806"/>
                      <a:pt x="8735" y="2806"/>
                      <a:pt x="9025" y="2441"/>
                    </a:cubicBezTo>
                    <a:cubicBezTo>
                      <a:pt x="9147" y="2284"/>
                      <a:pt x="9147" y="2086"/>
                      <a:pt x="9176" y="1906"/>
                    </a:cubicBezTo>
                    <a:cubicBezTo>
                      <a:pt x="9246" y="1453"/>
                      <a:pt x="9304" y="1001"/>
                      <a:pt x="9362" y="548"/>
                    </a:cubicBezTo>
                    <a:cubicBezTo>
                      <a:pt x="9408" y="188"/>
                      <a:pt x="9507" y="89"/>
                      <a:pt x="9866" y="25"/>
                    </a:cubicBezTo>
                    <a:cubicBezTo>
                      <a:pt x="10017" y="-4"/>
                      <a:pt x="10168" y="-4"/>
                      <a:pt x="10319" y="8"/>
                    </a:cubicBezTo>
                    <a:cubicBezTo>
                      <a:pt x="10539" y="19"/>
                      <a:pt x="10690" y="135"/>
                      <a:pt x="10748" y="356"/>
                    </a:cubicBezTo>
                    <a:cubicBezTo>
                      <a:pt x="10887" y="850"/>
                      <a:pt x="11032" y="1349"/>
                      <a:pt x="11171" y="1842"/>
                    </a:cubicBezTo>
                    <a:cubicBezTo>
                      <a:pt x="11316" y="2348"/>
                      <a:pt x="11734" y="2586"/>
                      <a:pt x="12250" y="2452"/>
                    </a:cubicBezTo>
                    <a:cubicBezTo>
                      <a:pt x="12418" y="2411"/>
                      <a:pt x="12517" y="2290"/>
                      <a:pt x="12598" y="2150"/>
                    </a:cubicBezTo>
                    <a:cubicBezTo>
                      <a:pt x="12865" y="1691"/>
                      <a:pt x="13137" y="1233"/>
                      <a:pt x="13410" y="774"/>
                    </a:cubicBezTo>
                    <a:cubicBezTo>
                      <a:pt x="13584" y="478"/>
                      <a:pt x="13735" y="414"/>
                      <a:pt x="14066" y="501"/>
                    </a:cubicBezTo>
                    <a:cubicBezTo>
                      <a:pt x="14727" y="670"/>
                      <a:pt x="14814" y="815"/>
                      <a:pt x="14715" y="1552"/>
                    </a:cubicBezTo>
                    <a:cubicBezTo>
                      <a:pt x="14657" y="1993"/>
                      <a:pt x="14605" y="2435"/>
                      <a:pt x="14553" y="2876"/>
                    </a:cubicBezTo>
                    <a:cubicBezTo>
                      <a:pt x="14547" y="2922"/>
                      <a:pt x="14547" y="2969"/>
                      <a:pt x="14553" y="3015"/>
                    </a:cubicBezTo>
                    <a:cubicBezTo>
                      <a:pt x="14628" y="3486"/>
                      <a:pt x="15342" y="3811"/>
                      <a:pt x="15730" y="3538"/>
                    </a:cubicBezTo>
                    <a:cubicBezTo>
                      <a:pt x="16171" y="3224"/>
                      <a:pt x="16594" y="2893"/>
                      <a:pt x="17024" y="2568"/>
                    </a:cubicBezTo>
                    <a:cubicBezTo>
                      <a:pt x="17337" y="2330"/>
                      <a:pt x="17493" y="2336"/>
                      <a:pt x="17807" y="2580"/>
                    </a:cubicBezTo>
                    <a:cubicBezTo>
                      <a:pt x="17847" y="2615"/>
                      <a:pt x="17888" y="2644"/>
                      <a:pt x="17928" y="2684"/>
                    </a:cubicBezTo>
                    <a:cubicBezTo>
                      <a:pt x="18294" y="3033"/>
                      <a:pt x="18311" y="3137"/>
                      <a:pt x="18062" y="3579"/>
                    </a:cubicBezTo>
                    <a:cubicBezTo>
                      <a:pt x="17824" y="4002"/>
                      <a:pt x="17598" y="4432"/>
                      <a:pt x="17348" y="4850"/>
                    </a:cubicBezTo>
                    <a:cubicBezTo>
                      <a:pt x="17169" y="5158"/>
                      <a:pt x="17250" y="5413"/>
                      <a:pt x="17447" y="5675"/>
                    </a:cubicBezTo>
                    <a:cubicBezTo>
                      <a:pt x="17644" y="5936"/>
                      <a:pt x="17870" y="6064"/>
                      <a:pt x="18201" y="5977"/>
                    </a:cubicBezTo>
                    <a:cubicBezTo>
                      <a:pt x="18711" y="5843"/>
                      <a:pt x="19222" y="5715"/>
                      <a:pt x="19727" y="5576"/>
                    </a:cubicBezTo>
                    <a:cubicBezTo>
                      <a:pt x="20051" y="5489"/>
                      <a:pt x="20196" y="5541"/>
                      <a:pt x="20376" y="5826"/>
                    </a:cubicBezTo>
                    <a:cubicBezTo>
                      <a:pt x="20457" y="5948"/>
                      <a:pt x="20527" y="6075"/>
                      <a:pt x="20573" y="6215"/>
                    </a:cubicBezTo>
                    <a:cubicBezTo>
                      <a:pt x="20660" y="6464"/>
                      <a:pt x="20620" y="6621"/>
                      <a:pt x="20411" y="6790"/>
                    </a:cubicBezTo>
                    <a:cubicBezTo>
                      <a:pt x="19976" y="7138"/>
                      <a:pt x="19547" y="7486"/>
                      <a:pt x="19106" y="7829"/>
                    </a:cubicBezTo>
                    <a:cubicBezTo>
                      <a:pt x="18885" y="7997"/>
                      <a:pt x="18827" y="8206"/>
                      <a:pt x="18874" y="8462"/>
                    </a:cubicBezTo>
                    <a:cubicBezTo>
                      <a:pt x="18891" y="8549"/>
                      <a:pt x="18920" y="8630"/>
                      <a:pt x="18943" y="8717"/>
                    </a:cubicBezTo>
                    <a:cubicBezTo>
                      <a:pt x="19019" y="8990"/>
                      <a:pt x="19199" y="9141"/>
                      <a:pt x="19477" y="9176"/>
                    </a:cubicBezTo>
                    <a:cubicBezTo>
                      <a:pt x="20005" y="9246"/>
                      <a:pt x="20533" y="9321"/>
                      <a:pt x="21055" y="9391"/>
                    </a:cubicBezTo>
                    <a:cubicBezTo>
                      <a:pt x="21368" y="9431"/>
                      <a:pt x="21530" y="9582"/>
                      <a:pt x="21565" y="9896"/>
                    </a:cubicBezTo>
                    <a:cubicBezTo>
                      <a:pt x="21583" y="10047"/>
                      <a:pt x="21600" y="10198"/>
                      <a:pt x="21583" y="10349"/>
                    </a:cubicBezTo>
                    <a:cubicBezTo>
                      <a:pt x="21554" y="10587"/>
                      <a:pt x="21432" y="10721"/>
                      <a:pt x="21211" y="10784"/>
                    </a:cubicBezTo>
                    <a:cubicBezTo>
                      <a:pt x="20718" y="10924"/>
                      <a:pt x="20220" y="11063"/>
                      <a:pt x="19727" y="11208"/>
                    </a:cubicBezTo>
                    <a:cubicBezTo>
                      <a:pt x="19245" y="11348"/>
                      <a:pt x="19025" y="11713"/>
                      <a:pt x="19123" y="12213"/>
                    </a:cubicBezTo>
                    <a:cubicBezTo>
                      <a:pt x="19158" y="12404"/>
                      <a:pt x="19268" y="12526"/>
                      <a:pt x="19431" y="12619"/>
                    </a:cubicBezTo>
                    <a:cubicBezTo>
                      <a:pt x="19883" y="12886"/>
                      <a:pt x="20336" y="13153"/>
                      <a:pt x="20794" y="13421"/>
                    </a:cubicBezTo>
                    <a:cubicBezTo>
                      <a:pt x="21130" y="13618"/>
                      <a:pt x="21182" y="13734"/>
                      <a:pt x="21090" y="14111"/>
                    </a:cubicBezTo>
                    <a:cubicBezTo>
                      <a:pt x="21084" y="14135"/>
                      <a:pt x="21084" y="14158"/>
                      <a:pt x="21078" y="14181"/>
                    </a:cubicBezTo>
                    <a:cubicBezTo>
                      <a:pt x="20939" y="14640"/>
                      <a:pt x="20782" y="14866"/>
                      <a:pt x="20260" y="14768"/>
                    </a:cubicBezTo>
                    <a:cubicBezTo>
                      <a:pt x="19790" y="14675"/>
                      <a:pt x="19309" y="14657"/>
                      <a:pt x="18833" y="14588"/>
                    </a:cubicBezTo>
                    <a:cubicBezTo>
                      <a:pt x="18497" y="14541"/>
                      <a:pt x="18276" y="14675"/>
                      <a:pt x="18114" y="14959"/>
                    </a:cubicBezTo>
                    <a:cubicBezTo>
                      <a:pt x="17946" y="15250"/>
                      <a:pt x="17870" y="15522"/>
                      <a:pt x="18102" y="15819"/>
                    </a:cubicBezTo>
                    <a:cubicBezTo>
                      <a:pt x="18416" y="16219"/>
                      <a:pt x="18717" y="16631"/>
                      <a:pt x="19025" y="17038"/>
                    </a:cubicBezTo>
                    <a:cubicBezTo>
                      <a:pt x="19280" y="17369"/>
                      <a:pt x="19280" y="17502"/>
                      <a:pt x="19025" y="17833"/>
                    </a:cubicBezTo>
                    <a:cubicBezTo>
                      <a:pt x="19013" y="17845"/>
                      <a:pt x="19002" y="17862"/>
                      <a:pt x="18990" y="17874"/>
                    </a:cubicBezTo>
                    <a:cubicBezTo>
                      <a:pt x="18653" y="18234"/>
                      <a:pt x="18520" y="18391"/>
                      <a:pt x="17992" y="18071"/>
                    </a:cubicBezTo>
                    <a:cubicBezTo>
                      <a:pt x="17586" y="17828"/>
                      <a:pt x="17157" y="17619"/>
                      <a:pt x="16757" y="17375"/>
                    </a:cubicBezTo>
                    <a:cubicBezTo>
                      <a:pt x="16426" y="17177"/>
                      <a:pt x="16171" y="17293"/>
                      <a:pt x="15910" y="17497"/>
                    </a:cubicBezTo>
                    <a:cubicBezTo>
                      <a:pt x="15649" y="17694"/>
                      <a:pt x="15545" y="17932"/>
                      <a:pt x="15637" y="18263"/>
                    </a:cubicBezTo>
                    <a:cubicBezTo>
                      <a:pt x="15782" y="18774"/>
                      <a:pt x="15910" y="19291"/>
                      <a:pt x="16038" y="19808"/>
                    </a:cubicBezTo>
                    <a:cubicBezTo>
                      <a:pt x="16107" y="20086"/>
                      <a:pt x="16049" y="20237"/>
                      <a:pt x="15811" y="20388"/>
                    </a:cubicBezTo>
                    <a:cubicBezTo>
                      <a:pt x="15684" y="20470"/>
                      <a:pt x="15550" y="20545"/>
                      <a:pt x="15405" y="20597"/>
                    </a:cubicBezTo>
                    <a:cubicBezTo>
                      <a:pt x="15150" y="20690"/>
                      <a:pt x="14965" y="20644"/>
                      <a:pt x="14796" y="20429"/>
                    </a:cubicBezTo>
                    <a:cubicBezTo>
                      <a:pt x="14477" y="20028"/>
                      <a:pt x="14158" y="19622"/>
                      <a:pt x="13839" y="19215"/>
                    </a:cubicBezTo>
                    <a:cubicBezTo>
                      <a:pt x="13532" y="18832"/>
                      <a:pt x="12975" y="18780"/>
                      <a:pt x="12604" y="19111"/>
                    </a:cubicBezTo>
                    <a:cubicBezTo>
                      <a:pt x="12505" y="19198"/>
                      <a:pt x="12459" y="19308"/>
                      <a:pt x="12441" y="19436"/>
                    </a:cubicBezTo>
                    <a:cubicBezTo>
                      <a:pt x="12366" y="19970"/>
                      <a:pt x="12279" y="20499"/>
                      <a:pt x="12221" y="21033"/>
                    </a:cubicBezTo>
                    <a:cubicBezTo>
                      <a:pt x="12186" y="21311"/>
                      <a:pt x="12076" y="21509"/>
                      <a:pt x="11803" y="21596"/>
                    </a:cubicBezTo>
                    <a:cubicBezTo>
                      <a:pt x="11571" y="21596"/>
                      <a:pt x="11334" y="21596"/>
                      <a:pt x="11102" y="21596"/>
                    </a:cubicBezTo>
                    <a:cubicBezTo>
                      <a:pt x="10939" y="21497"/>
                      <a:pt x="10846" y="21352"/>
                      <a:pt x="10794" y="21166"/>
                    </a:cubicBezTo>
                    <a:cubicBezTo>
                      <a:pt x="10655" y="20655"/>
                      <a:pt x="10498" y="20144"/>
                      <a:pt x="10359" y="19628"/>
                    </a:cubicBezTo>
                    <a:cubicBezTo>
                      <a:pt x="10284" y="19355"/>
                      <a:pt x="10116" y="19210"/>
                      <a:pt x="9843" y="19175"/>
                    </a:cubicBezTo>
                    <a:cubicBezTo>
                      <a:pt x="9739" y="19163"/>
                      <a:pt x="9634" y="19146"/>
                      <a:pt x="9530" y="19140"/>
                    </a:cubicBezTo>
                    <a:cubicBezTo>
                      <a:pt x="9286" y="19122"/>
                      <a:pt x="9118" y="19233"/>
                      <a:pt x="8996" y="19436"/>
                    </a:cubicBezTo>
                    <a:cubicBezTo>
                      <a:pt x="8950" y="19511"/>
                      <a:pt x="8909" y="19587"/>
                      <a:pt x="8863" y="19662"/>
                    </a:cubicBezTo>
                    <a:cubicBezTo>
                      <a:pt x="8619" y="20075"/>
                      <a:pt x="8381" y="20493"/>
                      <a:pt x="8132" y="20899"/>
                    </a:cubicBezTo>
                    <a:cubicBezTo>
                      <a:pt x="7998" y="21126"/>
                      <a:pt x="7836" y="21184"/>
                      <a:pt x="7581" y="21126"/>
                    </a:cubicBezTo>
                    <a:cubicBezTo>
                      <a:pt x="7424" y="21091"/>
                      <a:pt x="7279" y="21039"/>
                      <a:pt x="7134" y="20975"/>
                    </a:cubicBezTo>
                    <a:cubicBezTo>
                      <a:pt x="6879" y="20853"/>
                      <a:pt x="6798" y="20696"/>
                      <a:pt x="6833" y="20411"/>
                    </a:cubicBezTo>
                    <a:cubicBezTo>
                      <a:pt x="6896" y="19883"/>
                      <a:pt x="6949" y="19355"/>
                      <a:pt x="7024" y="18826"/>
                    </a:cubicBezTo>
                    <a:cubicBezTo>
                      <a:pt x="7076" y="18455"/>
                      <a:pt x="6879" y="18251"/>
                      <a:pt x="6589" y="18089"/>
                    </a:cubicBezTo>
                    <a:cubicBezTo>
                      <a:pt x="6305" y="17932"/>
                      <a:pt x="6050" y="17909"/>
                      <a:pt x="5783" y="18130"/>
                    </a:cubicBezTo>
                    <a:cubicBezTo>
                      <a:pt x="5412" y="18426"/>
                      <a:pt x="5023" y="18699"/>
                      <a:pt x="4652" y="18989"/>
                    </a:cubicBezTo>
                    <a:cubicBezTo>
                      <a:pt x="4275" y="19285"/>
                      <a:pt x="4112" y="19349"/>
                      <a:pt x="3648" y="18931"/>
                    </a:cubicBezTo>
                    <a:cubicBezTo>
                      <a:pt x="3619" y="18902"/>
                      <a:pt x="3590" y="18873"/>
                      <a:pt x="3561" y="18844"/>
                    </a:cubicBezTo>
                    <a:cubicBezTo>
                      <a:pt x="3335" y="18611"/>
                      <a:pt x="3312" y="18431"/>
                      <a:pt x="3474" y="18147"/>
                    </a:cubicBezTo>
                    <a:cubicBezTo>
                      <a:pt x="3724" y="17700"/>
                      <a:pt x="3979" y="17247"/>
                      <a:pt x="4228" y="16800"/>
                    </a:cubicBezTo>
                    <a:cubicBezTo>
                      <a:pt x="4298" y="16672"/>
                      <a:pt x="4373" y="16544"/>
                      <a:pt x="4356" y="16388"/>
                    </a:cubicBezTo>
                    <a:cubicBezTo>
                      <a:pt x="4315" y="15917"/>
                      <a:pt x="3793" y="15546"/>
                      <a:pt x="3341" y="15662"/>
                    </a:cubicBezTo>
                    <a:cubicBezTo>
                      <a:pt x="2819" y="15795"/>
                      <a:pt x="2297" y="15929"/>
                      <a:pt x="1781" y="16068"/>
                    </a:cubicBezTo>
                    <a:cubicBezTo>
                      <a:pt x="1572" y="16126"/>
                      <a:pt x="1415" y="16062"/>
                      <a:pt x="1282" y="15900"/>
                    </a:cubicBezTo>
                    <a:cubicBezTo>
                      <a:pt x="1172" y="15766"/>
                      <a:pt x="1102" y="15615"/>
                      <a:pt x="1032" y="15459"/>
                    </a:cubicBezTo>
                    <a:cubicBezTo>
                      <a:pt x="916" y="15186"/>
                      <a:pt x="969" y="14988"/>
                      <a:pt x="1201" y="14808"/>
                    </a:cubicBezTo>
                    <a:cubicBezTo>
                      <a:pt x="1583" y="14501"/>
                      <a:pt x="1972" y="14199"/>
                      <a:pt x="2355" y="13891"/>
                    </a:cubicBezTo>
                    <a:cubicBezTo>
                      <a:pt x="2761" y="13577"/>
                      <a:pt x="2796" y="13444"/>
                      <a:pt x="2662" y="12956"/>
                    </a:cubicBezTo>
                    <a:cubicBezTo>
                      <a:pt x="2569" y="12637"/>
                      <a:pt x="2378" y="12468"/>
                      <a:pt x="2042" y="12433"/>
                    </a:cubicBezTo>
                    <a:cubicBezTo>
                      <a:pt x="1554" y="12381"/>
                      <a:pt x="1073" y="12288"/>
                      <a:pt x="586" y="12236"/>
                    </a:cubicBezTo>
                    <a:cubicBezTo>
                      <a:pt x="307" y="12207"/>
                      <a:pt x="110" y="12097"/>
                      <a:pt x="12" y="11830"/>
                    </a:cubicBezTo>
                    <a:cubicBezTo>
                      <a:pt x="0" y="11580"/>
                      <a:pt x="0" y="11348"/>
                      <a:pt x="0" y="11110"/>
                    </a:cubicBezTo>
                    <a:close/>
                    <a:moveTo>
                      <a:pt x="13474" y="10813"/>
                    </a:moveTo>
                    <a:cubicBezTo>
                      <a:pt x="13491" y="9437"/>
                      <a:pt x="12412" y="8108"/>
                      <a:pt x="10777" y="8113"/>
                    </a:cubicBezTo>
                    <a:cubicBezTo>
                      <a:pt x="9263" y="8119"/>
                      <a:pt x="8103" y="9275"/>
                      <a:pt x="8097" y="10796"/>
                    </a:cubicBezTo>
                    <a:cubicBezTo>
                      <a:pt x="8091" y="12341"/>
                      <a:pt x="9304" y="13479"/>
                      <a:pt x="10765" y="13490"/>
                    </a:cubicBezTo>
                    <a:cubicBezTo>
                      <a:pt x="12262" y="13502"/>
                      <a:pt x="13468" y="12300"/>
                      <a:pt x="13474" y="10813"/>
                    </a:cubicBezTo>
                    <a:close/>
                  </a:path>
                </a:pathLst>
              </a:custGeom>
              <a:solidFill>
                <a:srgbClr val="D4D4D4">
                  <a:alpha val="25000"/>
                </a:srgbClr>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latin typeface="Verdana"/>
                    <a:ea typeface="Verdana"/>
                    <a:cs typeface="Verdana"/>
                    <a:sym typeface="Verdana"/>
                  </a:defRPr>
                </a:pPr>
                <a:endParaRPr kumimoji="0" sz="1300" b="0" i="0" u="none" strike="noStrike" kern="1200" cap="none" spc="0" normalizeH="0" baseline="0" noProof="0">
                  <a:ln>
                    <a:noFill/>
                  </a:ln>
                  <a:solidFill>
                    <a:srgbClr val="000000"/>
                  </a:solidFill>
                  <a:effectLst/>
                  <a:uLnTx/>
                  <a:uFillTx/>
                  <a:latin typeface="Verdana"/>
                  <a:ea typeface="Verdana"/>
                  <a:cs typeface="Verdana"/>
                  <a:sym typeface="Verdana"/>
                </a:endParaRPr>
              </a:p>
            </p:txBody>
          </p:sp>
          <p:grpSp>
            <p:nvGrpSpPr>
              <p:cNvPr id="72" name="Group 27">
                <a:extLst>
                  <a:ext uri="{FF2B5EF4-FFF2-40B4-BE49-F238E27FC236}">
                    <a16:creationId xmlns:a16="http://schemas.microsoft.com/office/drawing/2014/main" id="{C94E573B-99FA-4537-9817-7E803CB3ED9F}"/>
                  </a:ext>
                </a:extLst>
              </p:cNvPr>
              <p:cNvGrpSpPr/>
              <p:nvPr/>
            </p:nvGrpSpPr>
            <p:grpSpPr>
              <a:xfrm>
                <a:off x="1581992" y="-1"/>
                <a:ext cx="3210050" cy="3207954"/>
                <a:chOff x="0" y="0"/>
                <a:chExt cx="3210049" cy="3207953"/>
              </a:xfrm>
            </p:grpSpPr>
            <p:sp>
              <p:nvSpPr>
                <p:cNvPr id="73" name="Freeform: Shape 12">
                  <a:extLst>
                    <a:ext uri="{FF2B5EF4-FFF2-40B4-BE49-F238E27FC236}">
                      <a16:creationId xmlns:a16="http://schemas.microsoft.com/office/drawing/2014/main" id="{152557BA-B46A-4341-B51E-717773226FF1}"/>
                    </a:ext>
                  </a:extLst>
                </p:cNvPr>
                <p:cNvSpPr/>
                <p:nvPr/>
              </p:nvSpPr>
              <p:spPr>
                <a:xfrm>
                  <a:off x="0" y="-1"/>
                  <a:ext cx="3210050" cy="3207954"/>
                </a:xfrm>
                <a:custGeom>
                  <a:avLst/>
                  <a:gdLst/>
                  <a:ahLst/>
                  <a:cxnLst>
                    <a:cxn ang="0">
                      <a:pos x="wd2" y="hd2"/>
                    </a:cxn>
                    <a:cxn ang="5400000">
                      <a:pos x="wd2" y="hd2"/>
                    </a:cxn>
                    <a:cxn ang="10800000">
                      <a:pos x="wd2" y="hd2"/>
                    </a:cxn>
                    <a:cxn ang="16200000">
                      <a:pos x="wd2" y="hd2"/>
                    </a:cxn>
                  </a:cxnLst>
                  <a:rect l="0" t="0" r="r" b="b"/>
                  <a:pathLst>
                    <a:path w="21563" h="21541" extrusionOk="0">
                      <a:moveTo>
                        <a:pt x="20441" y="15273"/>
                      </a:moveTo>
                      <a:cubicBezTo>
                        <a:pt x="20221" y="15223"/>
                        <a:pt x="20001" y="15173"/>
                        <a:pt x="19780" y="15128"/>
                      </a:cubicBezTo>
                      <a:cubicBezTo>
                        <a:pt x="19602" y="15086"/>
                        <a:pt x="19419" y="15049"/>
                        <a:pt x="19240" y="15003"/>
                      </a:cubicBezTo>
                      <a:cubicBezTo>
                        <a:pt x="19124" y="14974"/>
                        <a:pt x="19033" y="15007"/>
                        <a:pt x="18958" y="15090"/>
                      </a:cubicBezTo>
                      <a:cubicBezTo>
                        <a:pt x="18804" y="15269"/>
                        <a:pt x="18684" y="15472"/>
                        <a:pt x="18617" y="15701"/>
                      </a:cubicBezTo>
                      <a:cubicBezTo>
                        <a:pt x="18584" y="15809"/>
                        <a:pt x="18634" y="15888"/>
                        <a:pt x="18700" y="15962"/>
                      </a:cubicBezTo>
                      <a:cubicBezTo>
                        <a:pt x="18941" y="16224"/>
                        <a:pt x="19186" y="16486"/>
                        <a:pt x="19427" y="16743"/>
                      </a:cubicBezTo>
                      <a:cubicBezTo>
                        <a:pt x="19610" y="16938"/>
                        <a:pt x="19618" y="17055"/>
                        <a:pt x="19473" y="17279"/>
                      </a:cubicBezTo>
                      <a:cubicBezTo>
                        <a:pt x="19465" y="17291"/>
                        <a:pt x="19456" y="17308"/>
                        <a:pt x="19444" y="17320"/>
                      </a:cubicBezTo>
                      <a:cubicBezTo>
                        <a:pt x="19170" y="17690"/>
                        <a:pt x="19049" y="17694"/>
                        <a:pt x="18713" y="17503"/>
                      </a:cubicBezTo>
                      <a:cubicBezTo>
                        <a:pt x="18439" y="17345"/>
                        <a:pt x="18148" y="17204"/>
                        <a:pt x="17869" y="17055"/>
                      </a:cubicBezTo>
                      <a:cubicBezTo>
                        <a:pt x="17753" y="16992"/>
                        <a:pt x="17645" y="16992"/>
                        <a:pt x="17541" y="17067"/>
                      </a:cubicBezTo>
                      <a:cubicBezTo>
                        <a:pt x="17375" y="17183"/>
                        <a:pt x="17234" y="17325"/>
                        <a:pt x="17113" y="17487"/>
                      </a:cubicBezTo>
                      <a:cubicBezTo>
                        <a:pt x="17026" y="17603"/>
                        <a:pt x="17022" y="17719"/>
                        <a:pt x="17092" y="17848"/>
                      </a:cubicBezTo>
                      <a:cubicBezTo>
                        <a:pt x="17263" y="18159"/>
                        <a:pt x="17429" y="18475"/>
                        <a:pt x="17591" y="18791"/>
                      </a:cubicBezTo>
                      <a:cubicBezTo>
                        <a:pt x="17703" y="19011"/>
                        <a:pt x="17687" y="19110"/>
                        <a:pt x="17508" y="19281"/>
                      </a:cubicBezTo>
                      <a:cubicBezTo>
                        <a:pt x="17479" y="19306"/>
                        <a:pt x="17454" y="19335"/>
                        <a:pt x="17425" y="19355"/>
                      </a:cubicBezTo>
                      <a:cubicBezTo>
                        <a:pt x="17159" y="19551"/>
                        <a:pt x="17022" y="19646"/>
                        <a:pt x="16710" y="19331"/>
                      </a:cubicBezTo>
                      <a:cubicBezTo>
                        <a:pt x="16486" y="19102"/>
                        <a:pt x="16245" y="18899"/>
                        <a:pt x="16012" y="18678"/>
                      </a:cubicBezTo>
                      <a:cubicBezTo>
                        <a:pt x="15904" y="18575"/>
                        <a:pt x="15788" y="18554"/>
                        <a:pt x="15655" y="18608"/>
                      </a:cubicBezTo>
                      <a:cubicBezTo>
                        <a:pt x="15480" y="18678"/>
                        <a:pt x="15314" y="18770"/>
                        <a:pt x="15165" y="18886"/>
                      </a:cubicBezTo>
                      <a:cubicBezTo>
                        <a:pt x="15040" y="18982"/>
                        <a:pt x="15007" y="19102"/>
                        <a:pt x="15044" y="19252"/>
                      </a:cubicBezTo>
                      <a:cubicBezTo>
                        <a:pt x="15131" y="19613"/>
                        <a:pt x="15215" y="19978"/>
                        <a:pt x="15293" y="20340"/>
                      </a:cubicBezTo>
                      <a:cubicBezTo>
                        <a:pt x="15327" y="20498"/>
                        <a:pt x="15273" y="20618"/>
                        <a:pt x="15131" y="20701"/>
                      </a:cubicBezTo>
                      <a:cubicBezTo>
                        <a:pt x="15036" y="20759"/>
                        <a:pt x="14932" y="20805"/>
                        <a:pt x="14824" y="20838"/>
                      </a:cubicBezTo>
                      <a:cubicBezTo>
                        <a:pt x="14604" y="20909"/>
                        <a:pt x="14479" y="20867"/>
                        <a:pt x="14355" y="20672"/>
                      </a:cubicBezTo>
                      <a:cubicBezTo>
                        <a:pt x="14172" y="20381"/>
                        <a:pt x="13985" y="20095"/>
                        <a:pt x="13810" y="19796"/>
                      </a:cubicBezTo>
                      <a:cubicBezTo>
                        <a:pt x="13715" y="19634"/>
                        <a:pt x="13590" y="19571"/>
                        <a:pt x="13403" y="19605"/>
                      </a:cubicBezTo>
                      <a:cubicBezTo>
                        <a:pt x="13254" y="19634"/>
                        <a:pt x="13108" y="19671"/>
                        <a:pt x="12967" y="19721"/>
                      </a:cubicBezTo>
                      <a:cubicBezTo>
                        <a:pt x="12772" y="19791"/>
                        <a:pt x="12709" y="19875"/>
                        <a:pt x="12701" y="20082"/>
                      </a:cubicBezTo>
                      <a:cubicBezTo>
                        <a:pt x="12689" y="20410"/>
                        <a:pt x="12680" y="20734"/>
                        <a:pt x="12672" y="21062"/>
                      </a:cubicBezTo>
                      <a:cubicBezTo>
                        <a:pt x="12664" y="21361"/>
                        <a:pt x="12589" y="21457"/>
                        <a:pt x="12294" y="21511"/>
                      </a:cubicBezTo>
                      <a:cubicBezTo>
                        <a:pt x="12215" y="21527"/>
                        <a:pt x="12136" y="21536"/>
                        <a:pt x="12057" y="21540"/>
                      </a:cubicBezTo>
                      <a:cubicBezTo>
                        <a:pt x="11862" y="21552"/>
                        <a:pt x="11737" y="21473"/>
                        <a:pt x="11675" y="21282"/>
                      </a:cubicBezTo>
                      <a:cubicBezTo>
                        <a:pt x="11563" y="20934"/>
                        <a:pt x="11455" y="20589"/>
                        <a:pt x="11355" y="20240"/>
                      </a:cubicBezTo>
                      <a:cubicBezTo>
                        <a:pt x="11309" y="20082"/>
                        <a:pt x="11214" y="20007"/>
                        <a:pt x="11056" y="19983"/>
                      </a:cubicBezTo>
                      <a:cubicBezTo>
                        <a:pt x="10873" y="19958"/>
                        <a:pt x="10690" y="19958"/>
                        <a:pt x="10507" y="19987"/>
                      </a:cubicBezTo>
                      <a:cubicBezTo>
                        <a:pt x="10370" y="20007"/>
                        <a:pt x="10283" y="20078"/>
                        <a:pt x="10241" y="20215"/>
                      </a:cubicBezTo>
                      <a:cubicBezTo>
                        <a:pt x="10146" y="20543"/>
                        <a:pt x="10042" y="20871"/>
                        <a:pt x="9938" y="21199"/>
                      </a:cubicBezTo>
                      <a:cubicBezTo>
                        <a:pt x="9847" y="21494"/>
                        <a:pt x="9730" y="21569"/>
                        <a:pt x="9427" y="21527"/>
                      </a:cubicBezTo>
                      <a:cubicBezTo>
                        <a:pt x="8970" y="21465"/>
                        <a:pt x="8916" y="21403"/>
                        <a:pt x="8912" y="20946"/>
                      </a:cubicBezTo>
                      <a:cubicBezTo>
                        <a:pt x="8908" y="20647"/>
                        <a:pt x="8895" y="20352"/>
                        <a:pt x="8887" y="20053"/>
                      </a:cubicBezTo>
                      <a:cubicBezTo>
                        <a:pt x="8883" y="19916"/>
                        <a:pt x="8829" y="19808"/>
                        <a:pt x="8700" y="19754"/>
                      </a:cubicBezTo>
                      <a:cubicBezTo>
                        <a:pt x="8505" y="19671"/>
                        <a:pt x="8305" y="19613"/>
                        <a:pt x="8093" y="19600"/>
                      </a:cubicBezTo>
                      <a:cubicBezTo>
                        <a:pt x="7965" y="19592"/>
                        <a:pt x="7873" y="19642"/>
                        <a:pt x="7803" y="19754"/>
                      </a:cubicBezTo>
                      <a:cubicBezTo>
                        <a:pt x="7624" y="20053"/>
                        <a:pt x="7433" y="20344"/>
                        <a:pt x="7250" y="20639"/>
                      </a:cubicBezTo>
                      <a:cubicBezTo>
                        <a:pt x="7105" y="20871"/>
                        <a:pt x="6993" y="20913"/>
                        <a:pt x="6735" y="20826"/>
                      </a:cubicBezTo>
                      <a:cubicBezTo>
                        <a:pt x="6722" y="20821"/>
                        <a:pt x="6710" y="20817"/>
                        <a:pt x="6698" y="20813"/>
                      </a:cubicBezTo>
                      <a:cubicBezTo>
                        <a:pt x="6299" y="20651"/>
                        <a:pt x="6220" y="20560"/>
                        <a:pt x="6324" y="20161"/>
                      </a:cubicBezTo>
                      <a:cubicBezTo>
                        <a:pt x="6403" y="19858"/>
                        <a:pt x="6461" y="19551"/>
                        <a:pt x="6535" y="19243"/>
                      </a:cubicBezTo>
                      <a:cubicBezTo>
                        <a:pt x="6573" y="19085"/>
                        <a:pt x="6531" y="18965"/>
                        <a:pt x="6398" y="18870"/>
                      </a:cubicBezTo>
                      <a:cubicBezTo>
                        <a:pt x="6257" y="18770"/>
                        <a:pt x="6112" y="18683"/>
                        <a:pt x="5954" y="18612"/>
                      </a:cubicBezTo>
                      <a:cubicBezTo>
                        <a:pt x="5804" y="18546"/>
                        <a:pt x="5675" y="18570"/>
                        <a:pt x="5551" y="18687"/>
                      </a:cubicBezTo>
                      <a:cubicBezTo>
                        <a:pt x="5302" y="18924"/>
                        <a:pt x="5048" y="19156"/>
                        <a:pt x="4799" y="19389"/>
                      </a:cubicBezTo>
                      <a:cubicBezTo>
                        <a:pt x="4612" y="19567"/>
                        <a:pt x="4491" y="19576"/>
                        <a:pt x="4271" y="19438"/>
                      </a:cubicBezTo>
                      <a:cubicBezTo>
                        <a:pt x="4246" y="19422"/>
                        <a:pt x="4221" y="19405"/>
                        <a:pt x="4196" y="19389"/>
                      </a:cubicBezTo>
                      <a:cubicBezTo>
                        <a:pt x="3877" y="19160"/>
                        <a:pt x="3847" y="19040"/>
                        <a:pt x="4030" y="18695"/>
                      </a:cubicBezTo>
                      <a:cubicBezTo>
                        <a:pt x="4180" y="18413"/>
                        <a:pt x="4325" y="18130"/>
                        <a:pt x="4479" y="17852"/>
                      </a:cubicBezTo>
                      <a:cubicBezTo>
                        <a:pt x="4558" y="17707"/>
                        <a:pt x="4545" y="17582"/>
                        <a:pt x="4446" y="17457"/>
                      </a:cubicBezTo>
                      <a:cubicBezTo>
                        <a:pt x="4338" y="17320"/>
                        <a:pt x="4213" y="17196"/>
                        <a:pt x="4072" y="17088"/>
                      </a:cubicBezTo>
                      <a:cubicBezTo>
                        <a:pt x="3947" y="16992"/>
                        <a:pt x="3823" y="16984"/>
                        <a:pt x="3685" y="17059"/>
                      </a:cubicBezTo>
                      <a:cubicBezTo>
                        <a:pt x="3378" y="17225"/>
                        <a:pt x="3066" y="17391"/>
                        <a:pt x="2751" y="17553"/>
                      </a:cubicBezTo>
                      <a:cubicBezTo>
                        <a:pt x="2530" y="17669"/>
                        <a:pt x="2402" y="17640"/>
                        <a:pt x="2240" y="17457"/>
                      </a:cubicBezTo>
                      <a:cubicBezTo>
                        <a:pt x="2227" y="17445"/>
                        <a:pt x="2219" y="17433"/>
                        <a:pt x="2206" y="17420"/>
                      </a:cubicBezTo>
                      <a:cubicBezTo>
                        <a:pt x="1920" y="17088"/>
                        <a:pt x="1924" y="16972"/>
                        <a:pt x="2227" y="16656"/>
                      </a:cubicBezTo>
                      <a:cubicBezTo>
                        <a:pt x="2439" y="16432"/>
                        <a:pt x="2638" y="16203"/>
                        <a:pt x="2854" y="15987"/>
                      </a:cubicBezTo>
                      <a:cubicBezTo>
                        <a:pt x="2963" y="15875"/>
                        <a:pt x="2983" y="15759"/>
                        <a:pt x="2929" y="15622"/>
                      </a:cubicBezTo>
                      <a:cubicBezTo>
                        <a:pt x="2859" y="15443"/>
                        <a:pt x="2759" y="15277"/>
                        <a:pt x="2643" y="15123"/>
                      </a:cubicBezTo>
                      <a:cubicBezTo>
                        <a:pt x="2547" y="14999"/>
                        <a:pt x="2418" y="14986"/>
                        <a:pt x="2281" y="15020"/>
                      </a:cubicBezTo>
                      <a:cubicBezTo>
                        <a:pt x="1978" y="15090"/>
                        <a:pt x="1679" y="15161"/>
                        <a:pt x="1375" y="15227"/>
                      </a:cubicBezTo>
                      <a:cubicBezTo>
                        <a:pt x="1334" y="15236"/>
                        <a:pt x="1292" y="15248"/>
                        <a:pt x="1255" y="15256"/>
                      </a:cubicBezTo>
                      <a:cubicBezTo>
                        <a:pt x="1026" y="15298"/>
                        <a:pt x="910" y="15244"/>
                        <a:pt x="806" y="15036"/>
                      </a:cubicBezTo>
                      <a:cubicBezTo>
                        <a:pt x="769" y="14957"/>
                        <a:pt x="731" y="14878"/>
                        <a:pt x="702" y="14795"/>
                      </a:cubicBezTo>
                      <a:cubicBezTo>
                        <a:pt x="628" y="14575"/>
                        <a:pt x="669" y="14451"/>
                        <a:pt x="869" y="14326"/>
                      </a:cubicBezTo>
                      <a:cubicBezTo>
                        <a:pt x="1151" y="14148"/>
                        <a:pt x="1438" y="13969"/>
                        <a:pt x="1720" y="13794"/>
                      </a:cubicBezTo>
                      <a:cubicBezTo>
                        <a:pt x="1945" y="13653"/>
                        <a:pt x="1978" y="13574"/>
                        <a:pt x="1924" y="13317"/>
                      </a:cubicBezTo>
                      <a:cubicBezTo>
                        <a:pt x="1891" y="13172"/>
                        <a:pt x="1853" y="13022"/>
                        <a:pt x="1795" y="12885"/>
                      </a:cubicBezTo>
                      <a:cubicBezTo>
                        <a:pt x="1737" y="12748"/>
                        <a:pt x="1637" y="12681"/>
                        <a:pt x="1483" y="12677"/>
                      </a:cubicBezTo>
                      <a:cubicBezTo>
                        <a:pt x="1147" y="12673"/>
                        <a:pt x="815" y="12661"/>
                        <a:pt x="478" y="12648"/>
                      </a:cubicBezTo>
                      <a:cubicBezTo>
                        <a:pt x="175" y="12640"/>
                        <a:pt x="83" y="12561"/>
                        <a:pt x="29" y="12270"/>
                      </a:cubicBezTo>
                      <a:cubicBezTo>
                        <a:pt x="25" y="12241"/>
                        <a:pt x="17" y="12212"/>
                        <a:pt x="13" y="12183"/>
                      </a:cubicBezTo>
                      <a:cubicBezTo>
                        <a:pt x="-33" y="11813"/>
                        <a:pt x="29" y="11718"/>
                        <a:pt x="391" y="11610"/>
                      </a:cubicBezTo>
                      <a:cubicBezTo>
                        <a:pt x="690" y="11519"/>
                        <a:pt x="989" y="11419"/>
                        <a:pt x="1292" y="11336"/>
                      </a:cubicBezTo>
                      <a:cubicBezTo>
                        <a:pt x="1459" y="11290"/>
                        <a:pt x="1546" y="11195"/>
                        <a:pt x="1562" y="11033"/>
                      </a:cubicBezTo>
                      <a:cubicBezTo>
                        <a:pt x="1579" y="10842"/>
                        <a:pt x="1587" y="10646"/>
                        <a:pt x="1550" y="10455"/>
                      </a:cubicBezTo>
                      <a:cubicBezTo>
                        <a:pt x="1529" y="10331"/>
                        <a:pt x="1459" y="10256"/>
                        <a:pt x="1338" y="10219"/>
                      </a:cubicBezTo>
                      <a:cubicBezTo>
                        <a:pt x="1018" y="10123"/>
                        <a:pt x="698" y="10024"/>
                        <a:pt x="378" y="9924"/>
                      </a:cubicBezTo>
                      <a:cubicBezTo>
                        <a:pt x="29" y="9816"/>
                        <a:pt x="-8" y="9758"/>
                        <a:pt x="13" y="9392"/>
                      </a:cubicBezTo>
                      <a:cubicBezTo>
                        <a:pt x="17" y="9318"/>
                        <a:pt x="33" y="9243"/>
                        <a:pt x="50" y="9172"/>
                      </a:cubicBezTo>
                      <a:cubicBezTo>
                        <a:pt x="100" y="8989"/>
                        <a:pt x="204" y="8906"/>
                        <a:pt x="395" y="8898"/>
                      </a:cubicBezTo>
                      <a:cubicBezTo>
                        <a:pt x="707" y="8886"/>
                        <a:pt x="1014" y="8877"/>
                        <a:pt x="1326" y="8869"/>
                      </a:cubicBezTo>
                      <a:cubicBezTo>
                        <a:pt x="1371" y="8869"/>
                        <a:pt x="1417" y="8865"/>
                        <a:pt x="1463" y="8865"/>
                      </a:cubicBezTo>
                      <a:cubicBezTo>
                        <a:pt x="1670" y="8873"/>
                        <a:pt x="1778" y="8757"/>
                        <a:pt x="1832" y="8574"/>
                      </a:cubicBezTo>
                      <a:cubicBezTo>
                        <a:pt x="1874" y="8437"/>
                        <a:pt x="1911" y="8300"/>
                        <a:pt x="1940" y="8163"/>
                      </a:cubicBezTo>
                      <a:cubicBezTo>
                        <a:pt x="1978" y="7972"/>
                        <a:pt x="1932" y="7881"/>
                        <a:pt x="1766" y="7773"/>
                      </a:cubicBezTo>
                      <a:cubicBezTo>
                        <a:pt x="1483" y="7594"/>
                        <a:pt x="1197" y="7415"/>
                        <a:pt x="914" y="7241"/>
                      </a:cubicBezTo>
                      <a:cubicBezTo>
                        <a:pt x="661" y="7083"/>
                        <a:pt x="623" y="6983"/>
                        <a:pt x="723" y="6697"/>
                      </a:cubicBezTo>
                      <a:cubicBezTo>
                        <a:pt x="752" y="6606"/>
                        <a:pt x="790" y="6514"/>
                        <a:pt x="844" y="6435"/>
                      </a:cubicBezTo>
                      <a:cubicBezTo>
                        <a:pt x="931" y="6302"/>
                        <a:pt x="1051" y="6236"/>
                        <a:pt x="1218" y="6277"/>
                      </a:cubicBezTo>
                      <a:cubicBezTo>
                        <a:pt x="1571" y="6361"/>
                        <a:pt x="1928" y="6435"/>
                        <a:pt x="2281" y="6523"/>
                      </a:cubicBezTo>
                      <a:cubicBezTo>
                        <a:pt x="2443" y="6564"/>
                        <a:pt x="2568" y="6527"/>
                        <a:pt x="2668" y="6394"/>
                      </a:cubicBezTo>
                      <a:cubicBezTo>
                        <a:pt x="2771" y="6253"/>
                        <a:pt x="2863" y="6099"/>
                        <a:pt x="2929" y="5937"/>
                      </a:cubicBezTo>
                      <a:cubicBezTo>
                        <a:pt x="2987" y="5792"/>
                        <a:pt x="2971" y="5667"/>
                        <a:pt x="2854" y="5547"/>
                      </a:cubicBezTo>
                      <a:cubicBezTo>
                        <a:pt x="2614" y="5302"/>
                        <a:pt x="2385" y="5048"/>
                        <a:pt x="2148" y="4795"/>
                      </a:cubicBezTo>
                      <a:cubicBezTo>
                        <a:pt x="1965" y="4595"/>
                        <a:pt x="1957" y="4483"/>
                        <a:pt x="2107" y="4259"/>
                      </a:cubicBezTo>
                      <a:cubicBezTo>
                        <a:pt x="2132" y="4226"/>
                        <a:pt x="2152" y="4188"/>
                        <a:pt x="2177" y="4155"/>
                      </a:cubicBezTo>
                      <a:cubicBezTo>
                        <a:pt x="2389" y="3877"/>
                        <a:pt x="2505" y="3852"/>
                        <a:pt x="2817" y="4014"/>
                      </a:cubicBezTo>
                      <a:cubicBezTo>
                        <a:pt x="3108" y="4168"/>
                        <a:pt x="3399" y="4317"/>
                        <a:pt x="3681" y="4475"/>
                      </a:cubicBezTo>
                      <a:cubicBezTo>
                        <a:pt x="3831" y="4558"/>
                        <a:pt x="3964" y="4542"/>
                        <a:pt x="4088" y="4438"/>
                      </a:cubicBezTo>
                      <a:cubicBezTo>
                        <a:pt x="4213" y="4334"/>
                        <a:pt x="4329" y="4218"/>
                        <a:pt x="4437" y="4093"/>
                      </a:cubicBezTo>
                      <a:cubicBezTo>
                        <a:pt x="4545" y="3964"/>
                        <a:pt x="4570" y="3835"/>
                        <a:pt x="4483" y="3678"/>
                      </a:cubicBezTo>
                      <a:cubicBezTo>
                        <a:pt x="4309" y="3366"/>
                        <a:pt x="4147" y="3051"/>
                        <a:pt x="3980" y="2735"/>
                      </a:cubicBezTo>
                      <a:cubicBezTo>
                        <a:pt x="3872" y="2527"/>
                        <a:pt x="3897" y="2415"/>
                        <a:pt x="4068" y="2257"/>
                      </a:cubicBezTo>
                      <a:cubicBezTo>
                        <a:pt x="4147" y="2183"/>
                        <a:pt x="4234" y="2120"/>
                        <a:pt x="4329" y="2062"/>
                      </a:cubicBezTo>
                      <a:cubicBezTo>
                        <a:pt x="4496" y="1967"/>
                        <a:pt x="4612" y="1979"/>
                        <a:pt x="4753" y="2108"/>
                      </a:cubicBezTo>
                      <a:cubicBezTo>
                        <a:pt x="4994" y="2328"/>
                        <a:pt x="5235" y="2552"/>
                        <a:pt x="5472" y="2776"/>
                      </a:cubicBezTo>
                      <a:cubicBezTo>
                        <a:pt x="5721" y="3013"/>
                        <a:pt x="5775" y="3021"/>
                        <a:pt x="6078" y="2864"/>
                      </a:cubicBezTo>
                      <a:cubicBezTo>
                        <a:pt x="6199" y="2801"/>
                        <a:pt x="6311" y="2735"/>
                        <a:pt x="6419" y="2652"/>
                      </a:cubicBezTo>
                      <a:cubicBezTo>
                        <a:pt x="6535" y="2556"/>
                        <a:pt x="6573" y="2444"/>
                        <a:pt x="6535" y="2295"/>
                      </a:cubicBezTo>
                      <a:cubicBezTo>
                        <a:pt x="6448" y="1950"/>
                        <a:pt x="6373" y="1601"/>
                        <a:pt x="6295" y="1256"/>
                      </a:cubicBezTo>
                      <a:cubicBezTo>
                        <a:pt x="6245" y="1032"/>
                        <a:pt x="6299" y="920"/>
                        <a:pt x="6498" y="812"/>
                      </a:cubicBezTo>
                      <a:cubicBezTo>
                        <a:pt x="6590" y="766"/>
                        <a:pt x="6681" y="729"/>
                        <a:pt x="6776" y="696"/>
                      </a:cubicBezTo>
                      <a:cubicBezTo>
                        <a:pt x="6980" y="633"/>
                        <a:pt x="7096" y="671"/>
                        <a:pt x="7217" y="854"/>
                      </a:cubicBezTo>
                      <a:cubicBezTo>
                        <a:pt x="7408" y="1148"/>
                        <a:pt x="7599" y="1443"/>
                        <a:pt x="7774" y="1751"/>
                      </a:cubicBezTo>
                      <a:cubicBezTo>
                        <a:pt x="7865" y="1908"/>
                        <a:pt x="7990" y="1962"/>
                        <a:pt x="8160" y="1938"/>
                      </a:cubicBezTo>
                      <a:cubicBezTo>
                        <a:pt x="8339" y="1908"/>
                        <a:pt x="8513" y="1863"/>
                        <a:pt x="8679" y="1792"/>
                      </a:cubicBezTo>
                      <a:cubicBezTo>
                        <a:pt x="8800" y="1738"/>
                        <a:pt x="8866" y="1655"/>
                        <a:pt x="8870" y="1514"/>
                      </a:cubicBezTo>
                      <a:cubicBezTo>
                        <a:pt x="8879" y="1153"/>
                        <a:pt x="8899" y="795"/>
                        <a:pt x="8912" y="434"/>
                      </a:cubicBezTo>
                      <a:cubicBezTo>
                        <a:pt x="8920" y="202"/>
                        <a:pt x="8995" y="102"/>
                        <a:pt x="9219" y="40"/>
                      </a:cubicBezTo>
                      <a:cubicBezTo>
                        <a:pt x="9257" y="31"/>
                        <a:pt x="9294" y="19"/>
                        <a:pt x="9332" y="15"/>
                      </a:cubicBezTo>
                      <a:cubicBezTo>
                        <a:pt x="9743" y="-31"/>
                        <a:pt x="9843" y="15"/>
                        <a:pt x="9951" y="393"/>
                      </a:cubicBezTo>
                      <a:cubicBezTo>
                        <a:pt x="10038" y="700"/>
                        <a:pt x="10142" y="999"/>
                        <a:pt x="10225" y="1306"/>
                      </a:cubicBezTo>
                      <a:cubicBezTo>
                        <a:pt x="10266" y="1452"/>
                        <a:pt x="10354" y="1531"/>
                        <a:pt x="10495" y="1551"/>
                      </a:cubicBezTo>
                      <a:cubicBezTo>
                        <a:pt x="10690" y="1576"/>
                        <a:pt x="10890" y="1576"/>
                        <a:pt x="11085" y="1551"/>
                      </a:cubicBezTo>
                      <a:cubicBezTo>
                        <a:pt x="11222" y="1535"/>
                        <a:pt x="11305" y="1452"/>
                        <a:pt x="11347" y="1315"/>
                      </a:cubicBezTo>
                      <a:cubicBezTo>
                        <a:pt x="11446" y="978"/>
                        <a:pt x="11550" y="642"/>
                        <a:pt x="11654" y="305"/>
                      </a:cubicBezTo>
                      <a:cubicBezTo>
                        <a:pt x="11733" y="56"/>
                        <a:pt x="11812" y="-2"/>
                        <a:pt x="12074" y="2"/>
                      </a:cubicBezTo>
                      <a:cubicBezTo>
                        <a:pt x="12111" y="2"/>
                        <a:pt x="12148" y="2"/>
                        <a:pt x="12186" y="6"/>
                      </a:cubicBezTo>
                      <a:cubicBezTo>
                        <a:pt x="12556" y="44"/>
                        <a:pt x="12659" y="156"/>
                        <a:pt x="12668" y="526"/>
                      </a:cubicBezTo>
                      <a:cubicBezTo>
                        <a:pt x="12676" y="849"/>
                        <a:pt x="12689" y="1169"/>
                        <a:pt x="12697" y="1493"/>
                      </a:cubicBezTo>
                      <a:cubicBezTo>
                        <a:pt x="12701" y="1622"/>
                        <a:pt x="12747" y="1722"/>
                        <a:pt x="12867" y="1776"/>
                      </a:cubicBezTo>
                      <a:cubicBezTo>
                        <a:pt x="13062" y="1863"/>
                        <a:pt x="13266" y="1921"/>
                        <a:pt x="13482" y="1938"/>
                      </a:cubicBezTo>
                      <a:cubicBezTo>
                        <a:pt x="13615" y="1946"/>
                        <a:pt x="13706" y="1892"/>
                        <a:pt x="13773" y="1784"/>
                      </a:cubicBezTo>
                      <a:cubicBezTo>
                        <a:pt x="13956" y="1489"/>
                        <a:pt x="14143" y="1194"/>
                        <a:pt x="14325" y="899"/>
                      </a:cubicBezTo>
                      <a:cubicBezTo>
                        <a:pt x="14483" y="650"/>
                        <a:pt x="14579" y="617"/>
                        <a:pt x="14861" y="712"/>
                      </a:cubicBezTo>
                      <a:cubicBezTo>
                        <a:pt x="14895" y="725"/>
                        <a:pt x="14924" y="733"/>
                        <a:pt x="14957" y="746"/>
                      </a:cubicBezTo>
                      <a:cubicBezTo>
                        <a:pt x="15285" y="887"/>
                        <a:pt x="15339" y="991"/>
                        <a:pt x="15260" y="1340"/>
                      </a:cubicBezTo>
                      <a:cubicBezTo>
                        <a:pt x="15190" y="1651"/>
                        <a:pt x="15119" y="1958"/>
                        <a:pt x="15044" y="2270"/>
                      </a:cubicBezTo>
                      <a:cubicBezTo>
                        <a:pt x="15003" y="2440"/>
                        <a:pt x="15044" y="2573"/>
                        <a:pt x="15194" y="2673"/>
                      </a:cubicBezTo>
                      <a:cubicBezTo>
                        <a:pt x="15347" y="2776"/>
                        <a:pt x="15501" y="2872"/>
                        <a:pt x="15676" y="2938"/>
                      </a:cubicBezTo>
                      <a:cubicBezTo>
                        <a:pt x="15800" y="2984"/>
                        <a:pt x="15900" y="2955"/>
                        <a:pt x="15996" y="2864"/>
                      </a:cubicBezTo>
                      <a:cubicBezTo>
                        <a:pt x="16249" y="2623"/>
                        <a:pt x="16502" y="2390"/>
                        <a:pt x="16760" y="2154"/>
                      </a:cubicBezTo>
                      <a:cubicBezTo>
                        <a:pt x="16972" y="1954"/>
                        <a:pt x="17088" y="1946"/>
                        <a:pt x="17325" y="2108"/>
                      </a:cubicBezTo>
                      <a:cubicBezTo>
                        <a:pt x="17338" y="2116"/>
                        <a:pt x="17346" y="2120"/>
                        <a:pt x="17354" y="2129"/>
                      </a:cubicBezTo>
                      <a:cubicBezTo>
                        <a:pt x="17757" y="2419"/>
                        <a:pt x="17699" y="2544"/>
                        <a:pt x="17533" y="2847"/>
                      </a:cubicBezTo>
                      <a:cubicBezTo>
                        <a:pt x="17383" y="3121"/>
                        <a:pt x="17242" y="3404"/>
                        <a:pt x="17088" y="3678"/>
                      </a:cubicBezTo>
                      <a:cubicBezTo>
                        <a:pt x="17009" y="3823"/>
                        <a:pt x="17026" y="3948"/>
                        <a:pt x="17126" y="4072"/>
                      </a:cubicBezTo>
                      <a:cubicBezTo>
                        <a:pt x="17238" y="4209"/>
                        <a:pt x="17363" y="4334"/>
                        <a:pt x="17500" y="4442"/>
                      </a:cubicBezTo>
                      <a:cubicBezTo>
                        <a:pt x="17616" y="4533"/>
                        <a:pt x="17736" y="4546"/>
                        <a:pt x="17874" y="4475"/>
                      </a:cubicBezTo>
                      <a:cubicBezTo>
                        <a:pt x="18185" y="4305"/>
                        <a:pt x="18501" y="4139"/>
                        <a:pt x="18817" y="3977"/>
                      </a:cubicBezTo>
                      <a:cubicBezTo>
                        <a:pt x="19041" y="3860"/>
                        <a:pt x="19170" y="3885"/>
                        <a:pt x="19332" y="4085"/>
                      </a:cubicBezTo>
                      <a:cubicBezTo>
                        <a:pt x="19390" y="4151"/>
                        <a:pt x="19444" y="4222"/>
                        <a:pt x="19490" y="4296"/>
                      </a:cubicBezTo>
                      <a:cubicBezTo>
                        <a:pt x="19606" y="4479"/>
                        <a:pt x="19594" y="4600"/>
                        <a:pt x="19448" y="4762"/>
                      </a:cubicBezTo>
                      <a:cubicBezTo>
                        <a:pt x="19199" y="5032"/>
                        <a:pt x="18950" y="5306"/>
                        <a:pt x="18696" y="5571"/>
                      </a:cubicBezTo>
                      <a:cubicBezTo>
                        <a:pt x="18601" y="5671"/>
                        <a:pt x="18580" y="5779"/>
                        <a:pt x="18630" y="5904"/>
                      </a:cubicBezTo>
                      <a:cubicBezTo>
                        <a:pt x="18704" y="6082"/>
                        <a:pt x="18796" y="6248"/>
                        <a:pt x="18916" y="6402"/>
                      </a:cubicBezTo>
                      <a:cubicBezTo>
                        <a:pt x="19012" y="6527"/>
                        <a:pt x="19128" y="6560"/>
                        <a:pt x="19282" y="6523"/>
                      </a:cubicBezTo>
                      <a:cubicBezTo>
                        <a:pt x="19635" y="6435"/>
                        <a:pt x="19992" y="6356"/>
                        <a:pt x="20346" y="6282"/>
                      </a:cubicBezTo>
                      <a:cubicBezTo>
                        <a:pt x="20532" y="6240"/>
                        <a:pt x="20645" y="6294"/>
                        <a:pt x="20740" y="6464"/>
                      </a:cubicBezTo>
                      <a:cubicBezTo>
                        <a:pt x="20790" y="6556"/>
                        <a:pt x="20832" y="6651"/>
                        <a:pt x="20865" y="6751"/>
                      </a:cubicBezTo>
                      <a:cubicBezTo>
                        <a:pt x="20935" y="6979"/>
                        <a:pt x="20898" y="7087"/>
                        <a:pt x="20695" y="7216"/>
                      </a:cubicBezTo>
                      <a:cubicBezTo>
                        <a:pt x="20404" y="7399"/>
                        <a:pt x="20117" y="7590"/>
                        <a:pt x="19818" y="7760"/>
                      </a:cubicBezTo>
                      <a:cubicBezTo>
                        <a:pt x="19648" y="7860"/>
                        <a:pt x="19602" y="7993"/>
                        <a:pt x="19631" y="8167"/>
                      </a:cubicBezTo>
                      <a:cubicBezTo>
                        <a:pt x="19656" y="8329"/>
                        <a:pt x="19702" y="8487"/>
                        <a:pt x="19760" y="8641"/>
                      </a:cubicBezTo>
                      <a:cubicBezTo>
                        <a:pt x="19814" y="8782"/>
                        <a:pt x="19909" y="8857"/>
                        <a:pt x="20071" y="8861"/>
                      </a:cubicBezTo>
                      <a:cubicBezTo>
                        <a:pt x="20437" y="8865"/>
                        <a:pt x="20798" y="8890"/>
                        <a:pt x="21164" y="8902"/>
                      </a:cubicBezTo>
                      <a:cubicBezTo>
                        <a:pt x="21363" y="8911"/>
                        <a:pt x="21463" y="8989"/>
                        <a:pt x="21517" y="9180"/>
                      </a:cubicBezTo>
                      <a:cubicBezTo>
                        <a:pt x="21550" y="9288"/>
                        <a:pt x="21563" y="9401"/>
                        <a:pt x="21563" y="9517"/>
                      </a:cubicBezTo>
                      <a:cubicBezTo>
                        <a:pt x="21563" y="9741"/>
                        <a:pt x="21501" y="9832"/>
                        <a:pt x="21293" y="9899"/>
                      </a:cubicBezTo>
                      <a:cubicBezTo>
                        <a:pt x="20965" y="10003"/>
                        <a:pt x="20636" y="10102"/>
                        <a:pt x="20308" y="10202"/>
                      </a:cubicBezTo>
                      <a:cubicBezTo>
                        <a:pt x="20071" y="10273"/>
                        <a:pt x="20009" y="10347"/>
                        <a:pt x="20001" y="10592"/>
                      </a:cubicBezTo>
                      <a:cubicBezTo>
                        <a:pt x="19997" y="10763"/>
                        <a:pt x="19984" y="10937"/>
                        <a:pt x="20021" y="11107"/>
                      </a:cubicBezTo>
                      <a:cubicBezTo>
                        <a:pt x="20046" y="11224"/>
                        <a:pt x="20117" y="11294"/>
                        <a:pt x="20233" y="11332"/>
                      </a:cubicBezTo>
                      <a:cubicBezTo>
                        <a:pt x="20578" y="11436"/>
                        <a:pt x="20923" y="11539"/>
                        <a:pt x="21268" y="11647"/>
                      </a:cubicBezTo>
                      <a:cubicBezTo>
                        <a:pt x="21509" y="11722"/>
                        <a:pt x="21567" y="11805"/>
                        <a:pt x="21563" y="12059"/>
                      </a:cubicBezTo>
                      <a:cubicBezTo>
                        <a:pt x="21563" y="12083"/>
                        <a:pt x="21563" y="12108"/>
                        <a:pt x="21563" y="12133"/>
                      </a:cubicBezTo>
                      <a:cubicBezTo>
                        <a:pt x="21546" y="12524"/>
                        <a:pt x="21422" y="12648"/>
                        <a:pt x="21031" y="12661"/>
                      </a:cubicBezTo>
                      <a:cubicBezTo>
                        <a:pt x="20703" y="12669"/>
                        <a:pt x="20379" y="12686"/>
                        <a:pt x="20051" y="12690"/>
                      </a:cubicBezTo>
                      <a:cubicBezTo>
                        <a:pt x="19926" y="12694"/>
                        <a:pt x="19839" y="12748"/>
                        <a:pt x="19789" y="12852"/>
                      </a:cubicBezTo>
                      <a:cubicBezTo>
                        <a:pt x="19697" y="13047"/>
                        <a:pt x="19639" y="13250"/>
                        <a:pt x="19623" y="13466"/>
                      </a:cubicBezTo>
                      <a:cubicBezTo>
                        <a:pt x="19610" y="13603"/>
                        <a:pt x="19668" y="13695"/>
                        <a:pt x="19785" y="13765"/>
                      </a:cubicBezTo>
                      <a:cubicBezTo>
                        <a:pt x="20075" y="13944"/>
                        <a:pt x="20362" y="14123"/>
                        <a:pt x="20649" y="14305"/>
                      </a:cubicBezTo>
                      <a:cubicBezTo>
                        <a:pt x="20911" y="14467"/>
                        <a:pt x="20944" y="14567"/>
                        <a:pt x="20844" y="14858"/>
                      </a:cubicBezTo>
                      <a:cubicBezTo>
                        <a:pt x="20811" y="14957"/>
                        <a:pt x="20765" y="15053"/>
                        <a:pt x="20707" y="15140"/>
                      </a:cubicBezTo>
                      <a:cubicBezTo>
                        <a:pt x="20653" y="15219"/>
                        <a:pt x="20566" y="15273"/>
                        <a:pt x="20441" y="15273"/>
                      </a:cubicBezTo>
                      <a:close/>
                      <a:moveTo>
                        <a:pt x="10777" y="18616"/>
                      </a:moveTo>
                      <a:cubicBezTo>
                        <a:pt x="15053" y="18633"/>
                        <a:pt x="18659" y="15194"/>
                        <a:pt x="18655" y="10750"/>
                      </a:cubicBezTo>
                      <a:cubicBezTo>
                        <a:pt x="18650" y="6381"/>
                        <a:pt x="15144" y="2897"/>
                        <a:pt x="10790" y="2893"/>
                      </a:cubicBezTo>
                      <a:cubicBezTo>
                        <a:pt x="6411" y="2889"/>
                        <a:pt x="2929" y="6398"/>
                        <a:pt x="2913" y="10721"/>
                      </a:cubicBezTo>
                      <a:cubicBezTo>
                        <a:pt x="2896" y="15148"/>
                        <a:pt x="6490" y="18629"/>
                        <a:pt x="10777" y="18616"/>
                      </a:cubicBezTo>
                      <a:close/>
                    </a:path>
                  </a:pathLst>
                </a:custGeom>
                <a:solidFill>
                  <a:srgbClr val="D4D4D4">
                    <a:alpha val="25000"/>
                  </a:srgbClr>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latin typeface="Verdana"/>
                      <a:ea typeface="Verdana"/>
                      <a:cs typeface="Verdana"/>
                      <a:sym typeface="Verdana"/>
                    </a:defRPr>
                  </a:pPr>
                  <a:endParaRPr kumimoji="0" sz="1300" b="0" i="0" u="none" strike="noStrike" kern="1200" cap="none" spc="0" normalizeH="0" baseline="0" noProof="0">
                    <a:ln>
                      <a:noFill/>
                    </a:ln>
                    <a:solidFill>
                      <a:srgbClr val="000000"/>
                    </a:solidFill>
                    <a:effectLst/>
                    <a:uLnTx/>
                    <a:uFillTx/>
                    <a:latin typeface="Verdana"/>
                    <a:ea typeface="Verdana"/>
                    <a:cs typeface="Verdana"/>
                    <a:sym typeface="Verdana"/>
                  </a:endParaRPr>
                </a:p>
              </p:txBody>
            </p:sp>
            <p:sp>
              <p:nvSpPr>
                <p:cNvPr id="74" name="Freeform: Shape 13">
                  <a:extLst>
                    <a:ext uri="{FF2B5EF4-FFF2-40B4-BE49-F238E27FC236}">
                      <a16:creationId xmlns:a16="http://schemas.microsoft.com/office/drawing/2014/main" id="{5445C364-85D3-4860-9727-A34D7FBDB639}"/>
                    </a:ext>
                  </a:extLst>
                </p:cNvPr>
                <p:cNvSpPr/>
                <p:nvPr/>
              </p:nvSpPr>
              <p:spPr>
                <a:xfrm>
                  <a:off x="468244" y="464167"/>
                  <a:ext cx="2276060" cy="2275408"/>
                </a:xfrm>
                <a:custGeom>
                  <a:avLst/>
                  <a:gdLst/>
                  <a:ahLst/>
                  <a:cxnLst>
                    <a:cxn ang="0">
                      <a:pos x="wd2" y="hd2"/>
                    </a:cxn>
                    <a:cxn ang="5400000">
                      <a:pos x="wd2" y="hd2"/>
                    </a:cxn>
                    <a:cxn ang="10800000">
                      <a:pos x="wd2" y="hd2"/>
                    </a:cxn>
                    <a:cxn ang="16200000">
                      <a:pos x="wd2" y="hd2"/>
                    </a:cxn>
                  </a:cxnLst>
                  <a:rect l="0" t="0" r="r" b="b"/>
                  <a:pathLst>
                    <a:path w="21542" h="21577" extrusionOk="0">
                      <a:moveTo>
                        <a:pt x="1" y="10773"/>
                      </a:moveTo>
                      <a:cubicBezTo>
                        <a:pt x="-34" y="4867"/>
                        <a:pt x="4836" y="-12"/>
                        <a:pt x="10783" y="0"/>
                      </a:cubicBezTo>
                      <a:cubicBezTo>
                        <a:pt x="16701" y="11"/>
                        <a:pt x="21554" y="4862"/>
                        <a:pt x="21542" y="10809"/>
                      </a:cubicBezTo>
                      <a:cubicBezTo>
                        <a:pt x="21531" y="16691"/>
                        <a:pt x="16766" y="21588"/>
                        <a:pt x="10742" y="21576"/>
                      </a:cubicBezTo>
                      <a:cubicBezTo>
                        <a:pt x="4672" y="21559"/>
                        <a:pt x="-46" y="16597"/>
                        <a:pt x="1" y="10773"/>
                      </a:cubicBezTo>
                      <a:close/>
                      <a:moveTo>
                        <a:pt x="13476" y="10797"/>
                      </a:moveTo>
                      <a:cubicBezTo>
                        <a:pt x="13482" y="9290"/>
                        <a:pt x="12299" y="8076"/>
                        <a:pt x="10772" y="8076"/>
                      </a:cubicBezTo>
                      <a:cubicBezTo>
                        <a:pt x="9144" y="8076"/>
                        <a:pt x="8055" y="9413"/>
                        <a:pt x="8061" y="10779"/>
                      </a:cubicBezTo>
                      <a:cubicBezTo>
                        <a:pt x="8067" y="12292"/>
                        <a:pt x="9255" y="13506"/>
                        <a:pt x="10760" y="13506"/>
                      </a:cubicBezTo>
                      <a:cubicBezTo>
                        <a:pt x="12264" y="13506"/>
                        <a:pt x="13470" y="12310"/>
                        <a:pt x="13476" y="10797"/>
                      </a:cubicBezTo>
                      <a:close/>
                    </a:path>
                  </a:pathLst>
                </a:custGeom>
                <a:solidFill>
                  <a:srgbClr val="D4D4D4">
                    <a:alpha val="25000"/>
                  </a:srgbClr>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latin typeface="Verdana"/>
                      <a:ea typeface="Verdana"/>
                      <a:cs typeface="Verdana"/>
                      <a:sym typeface="Verdana"/>
                    </a:defRPr>
                  </a:pPr>
                  <a:endParaRPr kumimoji="0" sz="1300" b="0" i="0" u="none" strike="noStrike" kern="1200" cap="none" spc="0" normalizeH="0" baseline="0" noProof="0">
                    <a:ln>
                      <a:noFill/>
                    </a:ln>
                    <a:solidFill>
                      <a:srgbClr val="000000"/>
                    </a:solidFill>
                    <a:effectLst/>
                    <a:uLnTx/>
                    <a:uFillTx/>
                    <a:latin typeface="Verdana"/>
                    <a:ea typeface="Verdana"/>
                    <a:cs typeface="Verdana"/>
                    <a:sym typeface="Verdana"/>
                  </a:endParaRPr>
                </a:p>
              </p:txBody>
            </p:sp>
          </p:grpSp>
        </p:grpSp>
        <p:sp>
          <p:nvSpPr>
            <p:cNvPr id="34" name="Freeform: Shape 14">
              <a:extLst>
                <a:ext uri="{FF2B5EF4-FFF2-40B4-BE49-F238E27FC236}">
                  <a16:creationId xmlns:a16="http://schemas.microsoft.com/office/drawing/2014/main" id="{90A79C23-7FFE-4D01-8EE5-248FC31C8DF1}"/>
                </a:ext>
              </a:extLst>
            </p:cNvPr>
            <p:cNvSpPr/>
            <p:nvPr/>
          </p:nvSpPr>
          <p:spPr>
            <a:xfrm>
              <a:off x="5732912" y="6298032"/>
              <a:ext cx="1090267" cy="1109161"/>
            </a:xfrm>
            <a:custGeom>
              <a:avLst/>
              <a:gdLst/>
              <a:ahLst/>
              <a:cxnLst>
                <a:cxn ang="0">
                  <a:pos x="wd2" y="hd2"/>
                </a:cxn>
                <a:cxn ang="5400000">
                  <a:pos x="wd2" y="hd2"/>
                </a:cxn>
                <a:cxn ang="10800000">
                  <a:pos x="wd2" y="hd2"/>
                </a:cxn>
                <a:cxn ang="16200000">
                  <a:pos x="wd2" y="hd2"/>
                </a:cxn>
              </a:cxnLst>
              <a:rect l="0" t="0" r="r" b="b"/>
              <a:pathLst>
                <a:path w="21559" h="21560" extrusionOk="0">
                  <a:moveTo>
                    <a:pt x="10993" y="3"/>
                  </a:moveTo>
                  <a:cubicBezTo>
                    <a:pt x="11341" y="28"/>
                    <a:pt x="11696" y="54"/>
                    <a:pt x="12057" y="73"/>
                  </a:cubicBezTo>
                  <a:cubicBezTo>
                    <a:pt x="12173" y="79"/>
                    <a:pt x="12205" y="136"/>
                    <a:pt x="12237" y="231"/>
                  </a:cubicBezTo>
                  <a:cubicBezTo>
                    <a:pt x="12431" y="808"/>
                    <a:pt x="12321" y="1378"/>
                    <a:pt x="12218" y="1949"/>
                  </a:cubicBezTo>
                  <a:cubicBezTo>
                    <a:pt x="12179" y="2171"/>
                    <a:pt x="12147" y="2399"/>
                    <a:pt x="12108" y="2621"/>
                  </a:cubicBezTo>
                  <a:cubicBezTo>
                    <a:pt x="12089" y="2735"/>
                    <a:pt x="12121" y="2798"/>
                    <a:pt x="12244" y="2823"/>
                  </a:cubicBezTo>
                  <a:cubicBezTo>
                    <a:pt x="12979" y="2957"/>
                    <a:pt x="13688" y="3191"/>
                    <a:pt x="14365" y="3502"/>
                  </a:cubicBezTo>
                  <a:cubicBezTo>
                    <a:pt x="14481" y="3552"/>
                    <a:pt x="14526" y="3514"/>
                    <a:pt x="14578" y="3419"/>
                  </a:cubicBezTo>
                  <a:cubicBezTo>
                    <a:pt x="14758" y="3058"/>
                    <a:pt x="14965" y="2709"/>
                    <a:pt x="15126" y="2342"/>
                  </a:cubicBezTo>
                  <a:cubicBezTo>
                    <a:pt x="15274" y="2006"/>
                    <a:pt x="15506" y="1746"/>
                    <a:pt x="15783" y="1511"/>
                  </a:cubicBezTo>
                  <a:cubicBezTo>
                    <a:pt x="16028" y="1302"/>
                    <a:pt x="16022" y="1309"/>
                    <a:pt x="16299" y="1467"/>
                  </a:cubicBezTo>
                  <a:cubicBezTo>
                    <a:pt x="16989" y="1860"/>
                    <a:pt x="17615" y="2342"/>
                    <a:pt x="18221" y="2849"/>
                  </a:cubicBezTo>
                  <a:cubicBezTo>
                    <a:pt x="18311" y="2925"/>
                    <a:pt x="18337" y="2995"/>
                    <a:pt x="18272" y="3090"/>
                  </a:cubicBezTo>
                  <a:cubicBezTo>
                    <a:pt x="18266" y="3096"/>
                    <a:pt x="18259" y="3109"/>
                    <a:pt x="18259" y="3121"/>
                  </a:cubicBezTo>
                  <a:cubicBezTo>
                    <a:pt x="18098" y="3578"/>
                    <a:pt x="17808" y="3939"/>
                    <a:pt x="17447" y="4262"/>
                  </a:cubicBezTo>
                  <a:cubicBezTo>
                    <a:pt x="17189" y="4484"/>
                    <a:pt x="16957" y="4738"/>
                    <a:pt x="16712" y="4972"/>
                  </a:cubicBezTo>
                  <a:cubicBezTo>
                    <a:pt x="16647" y="5035"/>
                    <a:pt x="16628" y="5080"/>
                    <a:pt x="16699" y="5156"/>
                  </a:cubicBezTo>
                  <a:cubicBezTo>
                    <a:pt x="16841" y="5308"/>
                    <a:pt x="16963" y="5473"/>
                    <a:pt x="17112" y="5625"/>
                  </a:cubicBezTo>
                  <a:cubicBezTo>
                    <a:pt x="17492" y="6018"/>
                    <a:pt x="17744" y="6493"/>
                    <a:pt x="18027" y="6943"/>
                  </a:cubicBezTo>
                  <a:cubicBezTo>
                    <a:pt x="18098" y="7057"/>
                    <a:pt x="18156" y="7076"/>
                    <a:pt x="18279" y="7013"/>
                  </a:cubicBezTo>
                  <a:cubicBezTo>
                    <a:pt x="18737" y="6778"/>
                    <a:pt x="19194" y="6550"/>
                    <a:pt x="19659" y="6322"/>
                  </a:cubicBezTo>
                  <a:cubicBezTo>
                    <a:pt x="19962" y="6176"/>
                    <a:pt x="20297" y="6202"/>
                    <a:pt x="20619" y="6157"/>
                  </a:cubicBezTo>
                  <a:cubicBezTo>
                    <a:pt x="20690" y="6145"/>
                    <a:pt x="20722" y="6208"/>
                    <a:pt x="20742" y="6259"/>
                  </a:cubicBezTo>
                  <a:cubicBezTo>
                    <a:pt x="21090" y="7051"/>
                    <a:pt x="21367" y="7869"/>
                    <a:pt x="21554" y="8711"/>
                  </a:cubicBezTo>
                  <a:cubicBezTo>
                    <a:pt x="21574" y="8800"/>
                    <a:pt x="21541" y="8851"/>
                    <a:pt x="21464" y="8889"/>
                  </a:cubicBezTo>
                  <a:cubicBezTo>
                    <a:pt x="21271" y="8990"/>
                    <a:pt x="21077" y="9098"/>
                    <a:pt x="20884" y="9199"/>
                  </a:cubicBezTo>
                  <a:cubicBezTo>
                    <a:pt x="20677" y="9307"/>
                    <a:pt x="20445" y="9301"/>
                    <a:pt x="20226" y="9339"/>
                  </a:cubicBezTo>
                  <a:cubicBezTo>
                    <a:pt x="19858" y="9402"/>
                    <a:pt x="19484" y="9459"/>
                    <a:pt x="19111" y="9510"/>
                  </a:cubicBezTo>
                  <a:cubicBezTo>
                    <a:pt x="18962" y="9529"/>
                    <a:pt x="18924" y="9592"/>
                    <a:pt x="18936" y="9726"/>
                  </a:cubicBezTo>
                  <a:cubicBezTo>
                    <a:pt x="18962" y="9992"/>
                    <a:pt x="18975" y="10264"/>
                    <a:pt x="19007" y="10530"/>
                  </a:cubicBezTo>
                  <a:cubicBezTo>
                    <a:pt x="19052" y="10930"/>
                    <a:pt x="18982" y="11323"/>
                    <a:pt x="18949" y="11716"/>
                  </a:cubicBezTo>
                  <a:cubicBezTo>
                    <a:pt x="18924" y="12039"/>
                    <a:pt x="18911" y="12039"/>
                    <a:pt x="19227" y="12083"/>
                  </a:cubicBezTo>
                  <a:cubicBezTo>
                    <a:pt x="19704" y="12159"/>
                    <a:pt x="20181" y="12229"/>
                    <a:pt x="20658" y="12305"/>
                  </a:cubicBezTo>
                  <a:cubicBezTo>
                    <a:pt x="20884" y="12343"/>
                    <a:pt x="21058" y="12483"/>
                    <a:pt x="21251" y="12584"/>
                  </a:cubicBezTo>
                  <a:cubicBezTo>
                    <a:pt x="21580" y="12755"/>
                    <a:pt x="21567" y="12761"/>
                    <a:pt x="21490" y="13116"/>
                  </a:cubicBezTo>
                  <a:cubicBezTo>
                    <a:pt x="21322" y="13864"/>
                    <a:pt x="21058" y="14574"/>
                    <a:pt x="20761" y="15278"/>
                  </a:cubicBezTo>
                  <a:cubicBezTo>
                    <a:pt x="20710" y="15398"/>
                    <a:pt x="20639" y="15430"/>
                    <a:pt x="20516" y="15417"/>
                  </a:cubicBezTo>
                  <a:cubicBezTo>
                    <a:pt x="20071" y="15379"/>
                    <a:pt x="19652" y="15290"/>
                    <a:pt x="19265" y="15062"/>
                  </a:cubicBezTo>
                  <a:cubicBezTo>
                    <a:pt x="18943" y="14872"/>
                    <a:pt x="18595" y="14726"/>
                    <a:pt x="18266" y="14549"/>
                  </a:cubicBezTo>
                  <a:cubicBezTo>
                    <a:pt x="18169" y="14498"/>
                    <a:pt x="18105" y="14498"/>
                    <a:pt x="18047" y="14606"/>
                  </a:cubicBezTo>
                  <a:cubicBezTo>
                    <a:pt x="17686" y="15252"/>
                    <a:pt x="17247" y="15848"/>
                    <a:pt x="16738" y="16380"/>
                  </a:cubicBezTo>
                  <a:cubicBezTo>
                    <a:pt x="16647" y="16476"/>
                    <a:pt x="16647" y="16533"/>
                    <a:pt x="16744" y="16621"/>
                  </a:cubicBezTo>
                  <a:cubicBezTo>
                    <a:pt x="17125" y="16983"/>
                    <a:pt x="17505" y="17350"/>
                    <a:pt x="17873" y="17730"/>
                  </a:cubicBezTo>
                  <a:cubicBezTo>
                    <a:pt x="18098" y="17965"/>
                    <a:pt x="18169" y="18288"/>
                    <a:pt x="18317" y="18567"/>
                  </a:cubicBezTo>
                  <a:cubicBezTo>
                    <a:pt x="18343" y="18618"/>
                    <a:pt x="18298" y="18656"/>
                    <a:pt x="18259" y="18688"/>
                  </a:cubicBezTo>
                  <a:cubicBezTo>
                    <a:pt x="17595" y="19264"/>
                    <a:pt x="16892" y="19778"/>
                    <a:pt x="16125" y="20209"/>
                  </a:cubicBezTo>
                  <a:cubicBezTo>
                    <a:pt x="16054" y="20253"/>
                    <a:pt x="16003" y="20247"/>
                    <a:pt x="15938" y="20190"/>
                  </a:cubicBezTo>
                  <a:cubicBezTo>
                    <a:pt x="15584" y="19892"/>
                    <a:pt x="15268" y="19575"/>
                    <a:pt x="15087" y="19138"/>
                  </a:cubicBezTo>
                  <a:cubicBezTo>
                    <a:pt x="14945" y="18795"/>
                    <a:pt x="14745" y="18478"/>
                    <a:pt x="14584" y="18149"/>
                  </a:cubicBezTo>
                  <a:cubicBezTo>
                    <a:pt x="14533" y="18047"/>
                    <a:pt x="14481" y="18022"/>
                    <a:pt x="14371" y="18066"/>
                  </a:cubicBezTo>
                  <a:cubicBezTo>
                    <a:pt x="13701" y="18377"/>
                    <a:pt x="12998" y="18605"/>
                    <a:pt x="12263" y="18745"/>
                  </a:cubicBezTo>
                  <a:cubicBezTo>
                    <a:pt x="12121" y="18770"/>
                    <a:pt x="12095" y="18846"/>
                    <a:pt x="12121" y="18966"/>
                  </a:cubicBezTo>
                  <a:cubicBezTo>
                    <a:pt x="12205" y="19454"/>
                    <a:pt x="12282" y="19942"/>
                    <a:pt x="12360" y="20437"/>
                  </a:cubicBezTo>
                  <a:cubicBezTo>
                    <a:pt x="12411" y="20779"/>
                    <a:pt x="12276" y="21090"/>
                    <a:pt x="12224" y="21419"/>
                  </a:cubicBezTo>
                  <a:cubicBezTo>
                    <a:pt x="12211" y="21489"/>
                    <a:pt x="12140" y="21489"/>
                    <a:pt x="12082" y="21495"/>
                  </a:cubicBezTo>
                  <a:cubicBezTo>
                    <a:pt x="11212" y="21584"/>
                    <a:pt x="10348" y="21578"/>
                    <a:pt x="9478" y="21495"/>
                  </a:cubicBezTo>
                  <a:cubicBezTo>
                    <a:pt x="9368" y="21483"/>
                    <a:pt x="9349" y="21426"/>
                    <a:pt x="9316" y="21337"/>
                  </a:cubicBezTo>
                  <a:cubicBezTo>
                    <a:pt x="9123" y="20766"/>
                    <a:pt x="9226" y="20202"/>
                    <a:pt x="9336" y="19632"/>
                  </a:cubicBezTo>
                  <a:cubicBezTo>
                    <a:pt x="9374" y="19410"/>
                    <a:pt x="9407" y="19182"/>
                    <a:pt x="9452" y="18960"/>
                  </a:cubicBezTo>
                  <a:cubicBezTo>
                    <a:pt x="9478" y="18833"/>
                    <a:pt x="9439" y="18764"/>
                    <a:pt x="9303" y="18738"/>
                  </a:cubicBezTo>
                  <a:cubicBezTo>
                    <a:pt x="8568" y="18605"/>
                    <a:pt x="7872" y="18377"/>
                    <a:pt x="7195" y="18060"/>
                  </a:cubicBezTo>
                  <a:cubicBezTo>
                    <a:pt x="7098" y="18016"/>
                    <a:pt x="7047" y="18028"/>
                    <a:pt x="6995" y="18130"/>
                  </a:cubicBezTo>
                  <a:cubicBezTo>
                    <a:pt x="6769" y="18580"/>
                    <a:pt x="6531" y="19023"/>
                    <a:pt x="6305" y="19473"/>
                  </a:cubicBezTo>
                  <a:cubicBezTo>
                    <a:pt x="6144" y="19790"/>
                    <a:pt x="5835" y="19974"/>
                    <a:pt x="5590" y="20215"/>
                  </a:cubicBezTo>
                  <a:cubicBezTo>
                    <a:pt x="5532" y="20272"/>
                    <a:pt x="5480" y="20221"/>
                    <a:pt x="5428" y="20190"/>
                  </a:cubicBezTo>
                  <a:cubicBezTo>
                    <a:pt x="4803" y="19809"/>
                    <a:pt x="4177" y="19429"/>
                    <a:pt x="3629" y="18941"/>
                  </a:cubicBezTo>
                  <a:cubicBezTo>
                    <a:pt x="3533" y="18852"/>
                    <a:pt x="3423" y="18770"/>
                    <a:pt x="3320" y="18688"/>
                  </a:cubicBezTo>
                  <a:cubicBezTo>
                    <a:pt x="3249" y="18630"/>
                    <a:pt x="3243" y="18580"/>
                    <a:pt x="3275" y="18497"/>
                  </a:cubicBezTo>
                  <a:cubicBezTo>
                    <a:pt x="3455" y="18085"/>
                    <a:pt x="3662" y="17692"/>
                    <a:pt x="4023" y="17388"/>
                  </a:cubicBezTo>
                  <a:cubicBezTo>
                    <a:pt x="4313" y="17147"/>
                    <a:pt x="4564" y="16862"/>
                    <a:pt x="4835" y="16596"/>
                  </a:cubicBezTo>
                  <a:cubicBezTo>
                    <a:pt x="4913" y="16526"/>
                    <a:pt x="4925" y="16476"/>
                    <a:pt x="4848" y="16387"/>
                  </a:cubicBezTo>
                  <a:cubicBezTo>
                    <a:pt x="4706" y="16235"/>
                    <a:pt x="4584" y="16070"/>
                    <a:pt x="4435" y="15918"/>
                  </a:cubicBezTo>
                  <a:cubicBezTo>
                    <a:pt x="4061" y="15531"/>
                    <a:pt x="3816" y="15056"/>
                    <a:pt x="3533" y="14612"/>
                  </a:cubicBezTo>
                  <a:cubicBezTo>
                    <a:pt x="3462" y="14498"/>
                    <a:pt x="3404" y="14479"/>
                    <a:pt x="3281" y="14542"/>
                  </a:cubicBezTo>
                  <a:cubicBezTo>
                    <a:pt x="2823" y="14777"/>
                    <a:pt x="2366" y="15005"/>
                    <a:pt x="1901" y="15233"/>
                  </a:cubicBezTo>
                  <a:cubicBezTo>
                    <a:pt x="1598" y="15385"/>
                    <a:pt x="1263" y="15354"/>
                    <a:pt x="941" y="15398"/>
                  </a:cubicBezTo>
                  <a:cubicBezTo>
                    <a:pt x="870" y="15411"/>
                    <a:pt x="838" y="15354"/>
                    <a:pt x="818" y="15297"/>
                  </a:cubicBezTo>
                  <a:cubicBezTo>
                    <a:pt x="470" y="14504"/>
                    <a:pt x="193" y="13687"/>
                    <a:pt x="6" y="12844"/>
                  </a:cubicBezTo>
                  <a:cubicBezTo>
                    <a:pt x="-14" y="12755"/>
                    <a:pt x="19" y="12704"/>
                    <a:pt x="96" y="12666"/>
                  </a:cubicBezTo>
                  <a:cubicBezTo>
                    <a:pt x="289" y="12565"/>
                    <a:pt x="483" y="12457"/>
                    <a:pt x="676" y="12356"/>
                  </a:cubicBezTo>
                  <a:cubicBezTo>
                    <a:pt x="883" y="12248"/>
                    <a:pt x="1115" y="12254"/>
                    <a:pt x="1334" y="12216"/>
                  </a:cubicBezTo>
                  <a:cubicBezTo>
                    <a:pt x="1708" y="12153"/>
                    <a:pt x="2088" y="12090"/>
                    <a:pt x="2462" y="12039"/>
                  </a:cubicBezTo>
                  <a:cubicBezTo>
                    <a:pt x="2591" y="12020"/>
                    <a:pt x="2630" y="11963"/>
                    <a:pt x="2617" y="11842"/>
                  </a:cubicBezTo>
                  <a:cubicBezTo>
                    <a:pt x="2591" y="11570"/>
                    <a:pt x="2578" y="11297"/>
                    <a:pt x="2546" y="11025"/>
                  </a:cubicBezTo>
                  <a:cubicBezTo>
                    <a:pt x="2501" y="10626"/>
                    <a:pt x="2572" y="10233"/>
                    <a:pt x="2604" y="9840"/>
                  </a:cubicBezTo>
                  <a:cubicBezTo>
                    <a:pt x="2630" y="9516"/>
                    <a:pt x="2643" y="9516"/>
                    <a:pt x="2314" y="9466"/>
                  </a:cubicBezTo>
                  <a:cubicBezTo>
                    <a:pt x="1850" y="9390"/>
                    <a:pt x="1379" y="9320"/>
                    <a:pt x="915" y="9250"/>
                  </a:cubicBezTo>
                  <a:cubicBezTo>
                    <a:pt x="683" y="9219"/>
                    <a:pt x="502" y="9073"/>
                    <a:pt x="309" y="8971"/>
                  </a:cubicBezTo>
                  <a:cubicBezTo>
                    <a:pt x="-20" y="8794"/>
                    <a:pt x="-7" y="8794"/>
                    <a:pt x="70" y="8439"/>
                  </a:cubicBezTo>
                  <a:cubicBezTo>
                    <a:pt x="238" y="7691"/>
                    <a:pt x="502" y="6981"/>
                    <a:pt x="799" y="6278"/>
                  </a:cubicBezTo>
                  <a:cubicBezTo>
                    <a:pt x="850" y="6157"/>
                    <a:pt x="915" y="6126"/>
                    <a:pt x="1044" y="6138"/>
                  </a:cubicBezTo>
                  <a:cubicBezTo>
                    <a:pt x="1489" y="6176"/>
                    <a:pt x="1908" y="6265"/>
                    <a:pt x="2295" y="6493"/>
                  </a:cubicBezTo>
                  <a:cubicBezTo>
                    <a:pt x="2611" y="6677"/>
                    <a:pt x="2952" y="6823"/>
                    <a:pt x="3281" y="6994"/>
                  </a:cubicBezTo>
                  <a:cubicBezTo>
                    <a:pt x="3391" y="7051"/>
                    <a:pt x="3462" y="7051"/>
                    <a:pt x="3526" y="6930"/>
                  </a:cubicBezTo>
                  <a:cubicBezTo>
                    <a:pt x="3887" y="6284"/>
                    <a:pt x="4326" y="5695"/>
                    <a:pt x="4835" y="5156"/>
                  </a:cubicBezTo>
                  <a:cubicBezTo>
                    <a:pt x="4919" y="5067"/>
                    <a:pt x="4913" y="5023"/>
                    <a:pt x="4829" y="4940"/>
                  </a:cubicBezTo>
                  <a:cubicBezTo>
                    <a:pt x="4448" y="4573"/>
                    <a:pt x="4068" y="4205"/>
                    <a:pt x="3700" y="3831"/>
                  </a:cubicBezTo>
                  <a:cubicBezTo>
                    <a:pt x="3468" y="3597"/>
                    <a:pt x="3397" y="3267"/>
                    <a:pt x="3249" y="2982"/>
                  </a:cubicBezTo>
                  <a:cubicBezTo>
                    <a:pt x="3223" y="2931"/>
                    <a:pt x="3268" y="2893"/>
                    <a:pt x="3307" y="2861"/>
                  </a:cubicBezTo>
                  <a:cubicBezTo>
                    <a:pt x="3971" y="2285"/>
                    <a:pt x="4674" y="1771"/>
                    <a:pt x="5441" y="1340"/>
                  </a:cubicBezTo>
                  <a:cubicBezTo>
                    <a:pt x="5512" y="1296"/>
                    <a:pt x="5564" y="1302"/>
                    <a:pt x="5628" y="1359"/>
                  </a:cubicBezTo>
                  <a:cubicBezTo>
                    <a:pt x="5983" y="1657"/>
                    <a:pt x="6299" y="1974"/>
                    <a:pt x="6479" y="2411"/>
                  </a:cubicBezTo>
                  <a:cubicBezTo>
                    <a:pt x="6628" y="2754"/>
                    <a:pt x="6821" y="3077"/>
                    <a:pt x="6995" y="3413"/>
                  </a:cubicBezTo>
                  <a:cubicBezTo>
                    <a:pt x="7040" y="3502"/>
                    <a:pt x="7085" y="3527"/>
                    <a:pt x="7182" y="3483"/>
                  </a:cubicBezTo>
                  <a:cubicBezTo>
                    <a:pt x="7866" y="3166"/>
                    <a:pt x="8575" y="2931"/>
                    <a:pt x="9323" y="2798"/>
                  </a:cubicBezTo>
                  <a:cubicBezTo>
                    <a:pt x="9452" y="2773"/>
                    <a:pt x="9471" y="2703"/>
                    <a:pt x="9452" y="2595"/>
                  </a:cubicBezTo>
                  <a:cubicBezTo>
                    <a:pt x="9368" y="2107"/>
                    <a:pt x="9291" y="1613"/>
                    <a:pt x="9213" y="1125"/>
                  </a:cubicBezTo>
                  <a:cubicBezTo>
                    <a:pt x="9155" y="776"/>
                    <a:pt x="9291" y="459"/>
                    <a:pt x="9349" y="130"/>
                  </a:cubicBezTo>
                  <a:cubicBezTo>
                    <a:pt x="9361" y="66"/>
                    <a:pt x="9420" y="54"/>
                    <a:pt x="9478" y="54"/>
                  </a:cubicBezTo>
                  <a:cubicBezTo>
                    <a:pt x="9968" y="54"/>
                    <a:pt x="10471" y="-16"/>
                    <a:pt x="10993" y="3"/>
                  </a:cubicBezTo>
                  <a:close/>
                  <a:moveTo>
                    <a:pt x="10767" y="17319"/>
                  </a:moveTo>
                  <a:cubicBezTo>
                    <a:pt x="14442" y="17287"/>
                    <a:pt x="17395" y="14447"/>
                    <a:pt x="17402" y="10803"/>
                  </a:cubicBezTo>
                  <a:cubicBezTo>
                    <a:pt x="17408" y="7197"/>
                    <a:pt x="14500" y="4288"/>
                    <a:pt x="10780" y="4281"/>
                  </a:cubicBezTo>
                  <a:cubicBezTo>
                    <a:pt x="7098" y="4275"/>
                    <a:pt x="4139" y="7146"/>
                    <a:pt x="4139" y="10803"/>
                  </a:cubicBezTo>
                  <a:cubicBezTo>
                    <a:pt x="4139" y="14416"/>
                    <a:pt x="7073" y="17280"/>
                    <a:pt x="10767" y="17319"/>
                  </a:cubicBezTo>
                  <a:close/>
                </a:path>
              </a:pathLst>
            </a:custGeom>
            <a:solidFill>
              <a:srgbClr val="FFFFFF">
                <a:alpha val="10000"/>
              </a:srgbClr>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latin typeface="Verdana"/>
                  <a:ea typeface="Verdana"/>
                  <a:cs typeface="Verdana"/>
                  <a:sym typeface="Verdana"/>
                </a:defRPr>
              </a:pPr>
              <a:endParaRPr kumimoji="0" sz="1300" b="0" i="0" u="none" strike="noStrike" kern="1200" cap="none" spc="0" normalizeH="0" baseline="0" noProof="0">
                <a:ln>
                  <a:noFill/>
                </a:ln>
                <a:solidFill>
                  <a:srgbClr val="000000"/>
                </a:solidFill>
                <a:effectLst/>
                <a:uLnTx/>
                <a:uFillTx/>
                <a:latin typeface="Verdana"/>
                <a:ea typeface="Verdana"/>
                <a:cs typeface="Verdana"/>
                <a:sym typeface="Verdana"/>
              </a:endParaRPr>
            </a:p>
          </p:txBody>
        </p:sp>
        <p:sp>
          <p:nvSpPr>
            <p:cNvPr id="35" name="Freeform: Shape 15">
              <a:extLst>
                <a:ext uri="{FF2B5EF4-FFF2-40B4-BE49-F238E27FC236}">
                  <a16:creationId xmlns:a16="http://schemas.microsoft.com/office/drawing/2014/main" id="{17DD43ED-1841-4932-B709-5D5B4D3C50BF}"/>
                </a:ext>
              </a:extLst>
            </p:cNvPr>
            <p:cNvSpPr/>
            <p:nvPr/>
          </p:nvSpPr>
          <p:spPr>
            <a:xfrm rot="2246763">
              <a:off x="429310" y="3528410"/>
              <a:ext cx="2128133" cy="2133459"/>
            </a:xfrm>
            <a:custGeom>
              <a:avLst/>
              <a:gdLst/>
              <a:ahLst/>
              <a:cxnLst>
                <a:cxn ang="0">
                  <a:pos x="wd2" y="hd2"/>
                </a:cxn>
                <a:cxn ang="5400000">
                  <a:pos x="wd2" y="hd2"/>
                </a:cxn>
                <a:cxn ang="10800000">
                  <a:pos x="wd2" y="hd2"/>
                </a:cxn>
                <a:cxn ang="16200000">
                  <a:pos x="wd2" y="hd2"/>
                </a:cxn>
              </a:cxnLst>
              <a:rect l="0" t="0" r="r" b="b"/>
              <a:pathLst>
                <a:path w="21574" h="21584" extrusionOk="0">
                  <a:moveTo>
                    <a:pt x="10873" y="21534"/>
                  </a:moveTo>
                  <a:cubicBezTo>
                    <a:pt x="10703" y="21534"/>
                    <a:pt x="10528" y="21534"/>
                    <a:pt x="10359" y="21534"/>
                  </a:cubicBezTo>
                  <a:cubicBezTo>
                    <a:pt x="10264" y="21534"/>
                    <a:pt x="10214" y="21496"/>
                    <a:pt x="10202" y="21403"/>
                  </a:cubicBezTo>
                  <a:cubicBezTo>
                    <a:pt x="10127" y="21002"/>
                    <a:pt x="10039" y="20608"/>
                    <a:pt x="9964" y="20207"/>
                  </a:cubicBezTo>
                  <a:cubicBezTo>
                    <a:pt x="9938" y="20089"/>
                    <a:pt x="9976" y="19970"/>
                    <a:pt x="9989" y="19851"/>
                  </a:cubicBezTo>
                  <a:cubicBezTo>
                    <a:pt x="10001" y="19751"/>
                    <a:pt x="9976" y="19701"/>
                    <a:pt x="9863" y="19688"/>
                  </a:cubicBezTo>
                  <a:cubicBezTo>
                    <a:pt x="9387" y="19638"/>
                    <a:pt x="8910" y="19550"/>
                    <a:pt x="8446" y="19425"/>
                  </a:cubicBezTo>
                  <a:cubicBezTo>
                    <a:pt x="8346" y="19400"/>
                    <a:pt x="8289" y="19432"/>
                    <a:pt x="8264" y="19532"/>
                  </a:cubicBezTo>
                  <a:cubicBezTo>
                    <a:pt x="8133" y="20076"/>
                    <a:pt x="7738" y="20470"/>
                    <a:pt x="7474" y="20946"/>
                  </a:cubicBezTo>
                  <a:cubicBezTo>
                    <a:pt x="7443" y="21002"/>
                    <a:pt x="7393" y="21002"/>
                    <a:pt x="7336" y="20983"/>
                  </a:cubicBezTo>
                  <a:cubicBezTo>
                    <a:pt x="6960" y="20858"/>
                    <a:pt x="6590" y="20708"/>
                    <a:pt x="6233" y="20545"/>
                  </a:cubicBezTo>
                  <a:cubicBezTo>
                    <a:pt x="6158" y="20514"/>
                    <a:pt x="6151" y="20458"/>
                    <a:pt x="6164" y="20395"/>
                  </a:cubicBezTo>
                  <a:cubicBezTo>
                    <a:pt x="6245" y="19995"/>
                    <a:pt x="6314" y="19594"/>
                    <a:pt x="6408" y="19200"/>
                  </a:cubicBezTo>
                  <a:cubicBezTo>
                    <a:pt x="6440" y="19069"/>
                    <a:pt x="6515" y="18950"/>
                    <a:pt x="6584" y="18831"/>
                  </a:cubicBezTo>
                  <a:cubicBezTo>
                    <a:pt x="6628" y="18756"/>
                    <a:pt x="6615" y="18712"/>
                    <a:pt x="6534" y="18668"/>
                  </a:cubicBezTo>
                  <a:cubicBezTo>
                    <a:pt x="6095" y="18437"/>
                    <a:pt x="5681" y="18161"/>
                    <a:pt x="5286" y="17861"/>
                  </a:cubicBezTo>
                  <a:cubicBezTo>
                    <a:pt x="5217" y="17805"/>
                    <a:pt x="5167" y="17805"/>
                    <a:pt x="5111" y="17886"/>
                  </a:cubicBezTo>
                  <a:cubicBezTo>
                    <a:pt x="4785" y="18343"/>
                    <a:pt x="4264" y="18568"/>
                    <a:pt x="3831" y="18906"/>
                  </a:cubicBezTo>
                  <a:cubicBezTo>
                    <a:pt x="3775" y="18950"/>
                    <a:pt x="3731" y="18931"/>
                    <a:pt x="3681" y="18887"/>
                  </a:cubicBezTo>
                  <a:cubicBezTo>
                    <a:pt x="3386" y="18631"/>
                    <a:pt x="3110" y="18349"/>
                    <a:pt x="2841" y="18074"/>
                  </a:cubicBezTo>
                  <a:cubicBezTo>
                    <a:pt x="2791" y="18017"/>
                    <a:pt x="2784" y="17974"/>
                    <a:pt x="2828" y="17911"/>
                  </a:cubicBezTo>
                  <a:cubicBezTo>
                    <a:pt x="3054" y="17573"/>
                    <a:pt x="3280" y="17235"/>
                    <a:pt x="3512" y="16897"/>
                  </a:cubicBezTo>
                  <a:cubicBezTo>
                    <a:pt x="3587" y="16791"/>
                    <a:pt x="3700" y="16722"/>
                    <a:pt x="3800" y="16635"/>
                  </a:cubicBezTo>
                  <a:cubicBezTo>
                    <a:pt x="3875" y="16572"/>
                    <a:pt x="3888" y="16516"/>
                    <a:pt x="3825" y="16441"/>
                  </a:cubicBezTo>
                  <a:cubicBezTo>
                    <a:pt x="3518" y="16059"/>
                    <a:pt x="3236" y="15658"/>
                    <a:pt x="2991" y="15227"/>
                  </a:cubicBezTo>
                  <a:cubicBezTo>
                    <a:pt x="2935" y="15127"/>
                    <a:pt x="2878" y="15145"/>
                    <a:pt x="2803" y="15195"/>
                  </a:cubicBezTo>
                  <a:cubicBezTo>
                    <a:pt x="2327" y="15489"/>
                    <a:pt x="1769" y="15496"/>
                    <a:pt x="1248" y="15640"/>
                  </a:cubicBezTo>
                  <a:cubicBezTo>
                    <a:pt x="1179" y="15658"/>
                    <a:pt x="1142" y="15621"/>
                    <a:pt x="1117" y="15558"/>
                  </a:cubicBezTo>
                  <a:cubicBezTo>
                    <a:pt x="947" y="15208"/>
                    <a:pt x="791" y="14845"/>
                    <a:pt x="653" y="14482"/>
                  </a:cubicBezTo>
                  <a:cubicBezTo>
                    <a:pt x="628" y="14407"/>
                    <a:pt x="646" y="14363"/>
                    <a:pt x="709" y="14326"/>
                  </a:cubicBezTo>
                  <a:cubicBezTo>
                    <a:pt x="1048" y="14100"/>
                    <a:pt x="1380" y="13869"/>
                    <a:pt x="1731" y="13650"/>
                  </a:cubicBezTo>
                  <a:cubicBezTo>
                    <a:pt x="1844" y="13581"/>
                    <a:pt x="1982" y="13550"/>
                    <a:pt x="2114" y="13512"/>
                  </a:cubicBezTo>
                  <a:cubicBezTo>
                    <a:pt x="2195" y="13487"/>
                    <a:pt x="2220" y="13450"/>
                    <a:pt x="2195" y="13362"/>
                  </a:cubicBezTo>
                  <a:cubicBezTo>
                    <a:pt x="2051" y="12880"/>
                    <a:pt x="1950" y="12392"/>
                    <a:pt x="1882" y="11898"/>
                  </a:cubicBezTo>
                  <a:cubicBezTo>
                    <a:pt x="1869" y="11816"/>
                    <a:pt x="1831" y="11791"/>
                    <a:pt x="1750" y="11804"/>
                  </a:cubicBezTo>
                  <a:cubicBezTo>
                    <a:pt x="1192" y="11898"/>
                    <a:pt x="665" y="11685"/>
                    <a:pt x="126" y="11622"/>
                  </a:cubicBezTo>
                  <a:cubicBezTo>
                    <a:pt x="57" y="11616"/>
                    <a:pt x="32" y="11572"/>
                    <a:pt x="26" y="11504"/>
                  </a:cubicBezTo>
                  <a:cubicBezTo>
                    <a:pt x="-12" y="11109"/>
                    <a:pt x="1" y="10715"/>
                    <a:pt x="7" y="10315"/>
                  </a:cubicBezTo>
                  <a:cubicBezTo>
                    <a:pt x="7" y="10240"/>
                    <a:pt x="57" y="10208"/>
                    <a:pt x="126" y="10196"/>
                  </a:cubicBezTo>
                  <a:cubicBezTo>
                    <a:pt x="533" y="10114"/>
                    <a:pt x="935" y="10033"/>
                    <a:pt x="1342" y="9952"/>
                  </a:cubicBezTo>
                  <a:cubicBezTo>
                    <a:pt x="1461" y="9927"/>
                    <a:pt x="1581" y="9964"/>
                    <a:pt x="1700" y="9977"/>
                  </a:cubicBezTo>
                  <a:cubicBezTo>
                    <a:pt x="1800" y="9989"/>
                    <a:pt x="1850" y="9952"/>
                    <a:pt x="1863" y="9845"/>
                  </a:cubicBezTo>
                  <a:cubicBezTo>
                    <a:pt x="1913" y="9376"/>
                    <a:pt x="2001" y="8907"/>
                    <a:pt x="2120" y="8450"/>
                  </a:cubicBezTo>
                  <a:cubicBezTo>
                    <a:pt x="2151" y="8331"/>
                    <a:pt x="2107" y="8275"/>
                    <a:pt x="1994" y="8250"/>
                  </a:cubicBezTo>
                  <a:cubicBezTo>
                    <a:pt x="1461" y="8112"/>
                    <a:pt x="1060" y="7724"/>
                    <a:pt x="596" y="7468"/>
                  </a:cubicBezTo>
                  <a:cubicBezTo>
                    <a:pt x="546" y="7443"/>
                    <a:pt x="546" y="7399"/>
                    <a:pt x="559" y="7349"/>
                  </a:cubicBezTo>
                  <a:cubicBezTo>
                    <a:pt x="684" y="6967"/>
                    <a:pt x="841" y="6598"/>
                    <a:pt x="1004" y="6229"/>
                  </a:cubicBezTo>
                  <a:cubicBezTo>
                    <a:pt x="1035" y="6160"/>
                    <a:pt x="1085" y="6147"/>
                    <a:pt x="1142" y="6166"/>
                  </a:cubicBezTo>
                  <a:cubicBezTo>
                    <a:pt x="1668" y="6304"/>
                    <a:pt x="2233" y="6291"/>
                    <a:pt x="2722" y="6585"/>
                  </a:cubicBezTo>
                  <a:cubicBezTo>
                    <a:pt x="2803" y="6635"/>
                    <a:pt x="2841" y="6604"/>
                    <a:pt x="2878" y="6535"/>
                  </a:cubicBezTo>
                  <a:cubicBezTo>
                    <a:pt x="3110" y="6104"/>
                    <a:pt x="3380" y="5691"/>
                    <a:pt x="3675" y="5303"/>
                  </a:cubicBezTo>
                  <a:cubicBezTo>
                    <a:pt x="3712" y="5253"/>
                    <a:pt x="3775" y="5196"/>
                    <a:pt x="3681" y="5134"/>
                  </a:cubicBezTo>
                  <a:cubicBezTo>
                    <a:pt x="3324" y="4902"/>
                    <a:pt x="3142" y="4533"/>
                    <a:pt x="2897" y="4208"/>
                  </a:cubicBezTo>
                  <a:cubicBezTo>
                    <a:pt x="2853" y="4151"/>
                    <a:pt x="2822" y="4095"/>
                    <a:pt x="2778" y="4039"/>
                  </a:cubicBezTo>
                  <a:cubicBezTo>
                    <a:pt x="2584" y="3763"/>
                    <a:pt x="2577" y="3757"/>
                    <a:pt x="2803" y="3519"/>
                  </a:cubicBezTo>
                  <a:cubicBezTo>
                    <a:pt x="3016" y="3294"/>
                    <a:pt x="3236" y="3081"/>
                    <a:pt x="3449" y="2862"/>
                  </a:cubicBezTo>
                  <a:cubicBezTo>
                    <a:pt x="3518" y="2794"/>
                    <a:pt x="3574" y="2787"/>
                    <a:pt x="3650" y="2844"/>
                  </a:cubicBezTo>
                  <a:cubicBezTo>
                    <a:pt x="3976" y="3063"/>
                    <a:pt x="4302" y="3275"/>
                    <a:pt x="4628" y="3494"/>
                  </a:cubicBezTo>
                  <a:cubicBezTo>
                    <a:pt x="4741" y="3569"/>
                    <a:pt x="4816" y="3676"/>
                    <a:pt x="4897" y="3776"/>
                  </a:cubicBezTo>
                  <a:cubicBezTo>
                    <a:pt x="4966" y="3870"/>
                    <a:pt x="5029" y="3889"/>
                    <a:pt x="5129" y="3807"/>
                  </a:cubicBezTo>
                  <a:cubicBezTo>
                    <a:pt x="5499" y="3501"/>
                    <a:pt x="5901" y="3232"/>
                    <a:pt x="6314" y="2994"/>
                  </a:cubicBezTo>
                  <a:cubicBezTo>
                    <a:pt x="6377" y="2956"/>
                    <a:pt x="6434" y="2919"/>
                    <a:pt x="6377" y="2837"/>
                  </a:cubicBezTo>
                  <a:cubicBezTo>
                    <a:pt x="6107" y="2449"/>
                    <a:pt x="6089" y="1986"/>
                    <a:pt x="5982" y="1548"/>
                  </a:cubicBezTo>
                  <a:cubicBezTo>
                    <a:pt x="5888" y="1167"/>
                    <a:pt x="5901" y="1173"/>
                    <a:pt x="6252" y="998"/>
                  </a:cubicBezTo>
                  <a:cubicBezTo>
                    <a:pt x="6502" y="873"/>
                    <a:pt x="6772" y="779"/>
                    <a:pt x="7029" y="672"/>
                  </a:cubicBezTo>
                  <a:cubicBezTo>
                    <a:pt x="7123" y="635"/>
                    <a:pt x="7180" y="641"/>
                    <a:pt x="7236" y="729"/>
                  </a:cubicBezTo>
                  <a:cubicBezTo>
                    <a:pt x="7449" y="1054"/>
                    <a:pt x="7662" y="1373"/>
                    <a:pt x="7882" y="1692"/>
                  </a:cubicBezTo>
                  <a:cubicBezTo>
                    <a:pt x="7963" y="1811"/>
                    <a:pt x="7988" y="1949"/>
                    <a:pt x="8032" y="2086"/>
                  </a:cubicBezTo>
                  <a:cubicBezTo>
                    <a:pt x="8064" y="2187"/>
                    <a:pt x="8108" y="2218"/>
                    <a:pt x="8208" y="2187"/>
                  </a:cubicBezTo>
                  <a:cubicBezTo>
                    <a:pt x="8672" y="2049"/>
                    <a:pt x="9148" y="1949"/>
                    <a:pt x="9631" y="1886"/>
                  </a:cubicBezTo>
                  <a:cubicBezTo>
                    <a:pt x="9725" y="1874"/>
                    <a:pt x="9757" y="1836"/>
                    <a:pt x="9744" y="1742"/>
                  </a:cubicBezTo>
                  <a:cubicBezTo>
                    <a:pt x="9663" y="1192"/>
                    <a:pt x="9863" y="672"/>
                    <a:pt x="9926" y="134"/>
                  </a:cubicBezTo>
                  <a:cubicBezTo>
                    <a:pt x="9932" y="72"/>
                    <a:pt x="9970" y="34"/>
                    <a:pt x="10039" y="28"/>
                  </a:cubicBezTo>
                  <a:cubicBezTo>
                    <a:pt x="10440" y="-16"/>
                    <a:pt x="10841" y="3"/>
                    <a:pt x="11243" y="9"/>
                  </a:cubicBezTo>
                  <a:cubicBezTo>
                    <a:pt x="11312" y="9"/>
                    <a:pt x="11343" y="59"/>
                    <a:pt x="11355" y="122"/>
                  </a:cubicBezTo>
                  <a:cubicBezTo>
                    <a:pt x="11437" y="528"/>
                    <a:pt x="11525" y="935"/>
                    <a:pt x="11594" y="1348"/>
                  </a:cubicBezTo>
                  <a:cubicBezTo>
                    <a:pt x="11612" y="1461"/>
                    <a:pt x="11581" y="1586"/>
                    <a:pt x="11569" y="1705"/>
                  </a:cubicBezTo>
                  <a:cubicBezTo>
                    <a:pt x="11556" y="1799"/>
                    <a:pt x="11594" y="1842"/>
                    <a:pt x="11694" y="1855"/>
                  </a:cubicBezTo>
                  <a:cubicBezTo>
                    <a:pt x="12171" y="1905"/>
                    <a:pt x="12647" y="1993"/>
                    <a:pt x="13111" y="2118"/>
                  </a:cubicBezTo>
                  <a:cubicBezTo>
                    <a:pt x="13186" y="2136"/>
                    <a:pt x="13261" y="2143"/>
                    <a:pt x="13287" y="2043"/>
                  </a:cubicBezTo>
                  <a:cubicBezTo>
                    <a:pt x="13387" y="1580"/>
                    <a:pt x="13700" y="1229"/>
                    <a:pt x="13939" y="841"/>
                  </a:cubicBezTo>
                  <a:cubicBezTo>
                    <a:pt x="14127" y="522"/>
                    <a:pt x="14139" y="528"/>
                    <a:pt x="14490" y="660"/>
                  </a:cubicBezTo>
                  <a:cubicBezTo>
                    <a:pt x="14760" y="760"/>
                    <a:pt x="15023" y="873"/>
                    <a:pt x="15287" y="985"/>
                  </a:cubicBezTo>
                  <a:cubicBezTo>
                    <a:pt x="15381" y="1023"/>
                    <a:pt x="15418" y="1073"/>
                    <a:pt x="15400" y="1173"/>
                  </a:cubicBezTo>
                  <a:cubicBezTo>
                    <a:pt x="15318" y="1561"/>
                    <a:pt x="15249" y="1949"/>
                    <a:pt x="15161" y="2337"/>
                  </a:cubicBezTo>
                  <a:cubicBezTo>
                    <a:pt x="15130" y="2468"/>
                    <a:pt x="15048" y="2593"/>
                    <a:pt x="14986" y="2718"/>
                  </a:cubicBezTo>
                  <a:cubicBezTo>
                    <a:pt x="14942" y="2794"/>
                    <a:pt x="14954" y="2837"/>
                    <a:pt x="15036" y="2881"/>
                  </a:cubicBezTo>
                  <a:cubicBezTo>
                    <a:pt x="15475" y="3113"/>
                    <a:pt x="15889" y="3388"/>
                    <a:pt x="16284" y="3688"/>
                  </a:cubicBezTo>
                  <a:cubicBezTo>
                    <a:pt x="16353" y="3745"/>
                    <a:pt x="16403" y="3751"/>
                    <a:pt x="16459" y="3670"/>
                  </a:cubicBezTo>
                  <a:cubicBezTo>
                    <a:pt x="16785" y="3213"/>
                    <a:pt x="17306" y="2987"/>
                    <a:pt x="17738" y="2650"/>
                  </a:cubicBezTo>
                  <a:cubicBezTo>
                    <a:pt x="17795" y="2606"/>
                    <a:pt x="17839" y="2625"/>
                    <a:pt x="17889" y="2668"/>
                  </a:cubicBezTo>
                  <a:cubicBezTo>
                    <a:pt x="18183" y="2925"/>
                    <a:pt x="18459" y="3206"/>
                    <a:pt x="18729" y="3488"/>
                  </a:cubicBezTo>
                  <a:cubicBezTo>
                    <a:pt x="18779" y="3544"/>
                    <a:pt x="18785" y="3594"/>
                    <a:pt x="18741" y="3651"/>
                  </a:cubicBezTo>
                  <a:cubicBezTo>
                    <a:pt x="18509" y="3995"/>
                    <a:pt x="18290" y="4339"/>
                    <a:pt x="18052" y="4677"/>
                  </a:cubicBezTo>
                  <a:cubicBezTo>
                    <a:pt x="17983" y="4777"/>
                    <a:pt x="17870" y="4852"/>
                    <a:pt x="17776" y="4927"/>
                  </a:cubicBezTo>
                  <a:cubicBezTo>
                    <a:pt x="17701" y="4990"/>
                    <a:pt x="17688" y="5046"/>
                    <a:pt x="17751" y="5121"/>
                  </a:cubicBezTo>
                  <a:cubicBezTo>
                    <a:pt x="18058" y="5503"/>
                    <a:pt x="18340" y="5910"/>
                    <a:pt x="18585" y="6335"/>
                  </a:cubicBezTo>
                  <a:cubicBezTo>
                    <a:pt x="18641" y="6429"/>
                    <a:pt x="18698" y="6416"/>
                    <a:pt x="18773" y="6366"/>
                  </a:cubicBezTo>
                  <a:cubicBezTo>
                    <a:pt x="19249" y="6072"/>
                    <a:pt x="19807" y="6066"/>
                    <a:pt x="20328" y="5922"/>
                  </a:cubicBezTo>
                  <a:cubicBezTo>
                    <a:pt x="20397" y="5903"/>
                    <a:pt x="20434" y="5941"/>
                    <a:pt x="20459" y="6003"/>
                  </a:cubicBezTo>
                  <a:cubicBezTo>
                    <a:pt x="20629" y="6354"/>
                    <a:pt x="20785" y="6717"/>
                    <a:pt x="20923" y="7080"/>
                  </a:cubicBezTo>
                  <a:cubicBezTo>
                    <a:pt x="20948" y="7155"/>
                    <a:pt x="20930" y="7199"/>
                    <a:pt x="20867" y="7236"/>
                  </a:cubicBezTo>
                  <a:cubicBezTo>
                    <a:pt x="20528" y="7461"/>
                    <a:pt x="20196" y="7693"/>
                    <a:pt x="19845" y="7912"/>
                  </a:cubicBezTo>
                  <a:cubicBezTo>
                    <a:pt x="19732" y="7981"/>
                    <a:pt x="19594" y="8012"/>
                    <a:pt x="19462" y="8050"/>
                  </a:cubicBezTo>
                  <a:cubicBezTo>
                    <a:pt x="19381" y="8075"/>
                    <a:pt x="19356" y="8112"/>
                    <a:pt x="19381" y="8200"/>
                  </a:cubicBezTo>
                  <a:cubicBezTo>
                    <a:pt x="19519" y="8675"/>
                    <a:pt x="19626" y="9157"/>
                    <a:pt x="19688" y="9651"/>
                  </a:cubicBezTo>
                  <a:cubicBezTo>
                    <a:pt x="19701" y="9739"/>
                    <a:pt x="19738" y="9770"/>
                    <a:pt x="19820" y="9758"/>
                  </a:cubicBezTo>
                  <a:cubicBezTo>
                    <a:pt x="20372" y="9676"/>
                    <a:pt x="20892" y="9877"/>
                    <a:pt x="21431" y="9939"/>
                  </a:cubicBezTo>
                  <a:cubicBezTo>
                    <a:pt x="21506" y="9946"/>
                    <a:pt x="21538" y="9989"/>
                    <a:pt x="21550" y="10064"/>
                  </a:cubicBezTo>
                  <a:cubicBezTo>
                    <a:pt x="21588" y="10459"/>
                    <a:pt x="21569" y="10859"/>
                    <a:pt x="21569" y="11253"/>
                  </a:cubicBezTo>
                  <a:cubicBezTo>
                    <a:pt x="21569" y="11322"/>
                    <a:pt x="21525" y="11353"/>
                    <a:pt x="21463" y="11366"/>
                  </a:cubicBezTo>
                  <a:cubicBezTo>
                    <a:pt x="21049" y="11447"/>
                    <a:pt x="20635" y="11535"/>
                    <a:pt x="20215" y="11610"/>
                  </a:cubicBezTo>
                  <a:cubicBezTo>
                    <a:pt x="20108" y="11629"/>
                    <a:pt x="19995" y="11597"/>
                    <a:pt x="19889" y="11585"/>
                  </a:cubicBezTo>
                  <a:cubicBezTo>
                    <a:pt x="19782" y="11572"/>
                    <a:pt x="19726" y="11597"/>
                    <a:pt x="19713" y="11723"/>
                  </a:cubicBezTo>
                  <a:cubicBezTo>
                    <a:pt x="19663" y="12192"/>
                    <a:pt x="19575" y="12661"/>
                    <a:pt x="19456" y="13118"/>
                  </a:cubicBezTo>
                  <a:cubicBezTo>
                    <a:pt x="19425" y="13231"/>
                    <a:pt x="19462" y="13287"/>
                    <a:pt x="19569" y="13312"/>
                  </a:cubicBezTo>
                  <a:cubicBezTo>
                    <a:pt x="20108" y="13443"/>
                    <a:pt x="20503" y="13831"/>
                    <a:pt x="20974" y="14088"/>
                  </a:cubicBezTo>
                  <a:cubicBezTo>
                    <a:pt x="21036" y="14125"/>
                    <a:pt x="21036" y="14175"/>
                    <a:pt x="21011" y="14238"/>
                  </a:cubicBezTo>
                  <a:cubicBezTo>
                    <a:pt x="20886" y="14607"/>
                    <a:pt x="20735" y="14970"/>
                    <a:pt x="20579" y="15327"/>
                  </a:cubicBezTo>
                  <a:cubicBezTo>
                    <a:pt x="20547" y="15396"/>
                    <a:pt x="20503" y="15421"/>
                    <a:pt x="20428" y="15402"/>
                  </a:cubicBezTo>
                  <a:cubicBezTo>
                    <a:pt x="20027" y="15321"/>
                    <a:pt x="19619" y="15245"/>
                    <a:pt x="19218" y="15158"/>
                  </a:cubicBezTo>
                  <a:cubicBezTo>
                    <a:pt x="19093" y="15127"/>
                    <a:pt x="18980" y="15051"/>
                    <a:pt x="18867" y="14989"/>
                  </a:cubicBezTo>
                  <a:cubicBezTo>
                    <a:pt x="18785" y="14945"/>
                    <a:pt x="18741" y="14951"/>
                    <a:pt x="18691" y="15039"/>
                  </a:cubicBezTo>
                  <a:cubicBezTo>
                    <a:pt x="18459" y="15464"/>
                    <a:pt x="18202" y="15877"/>
                    <a:pt x="17901" y="16259"/>
                  </a:cubicBezTo>
                  <a:cubicBezTo>
                    <a:pt x="17832" y="16347"/>
                    <a:pt x="17820" y="16403"/>
                    <a:pt x="17926" y="16472"/>
                  </a:cubicBezTo>
                  <a:cubicBezTo>
                    <a:pt x="18259" y="16685"/>
                    <a:pt x="18422" y="17041"/>
                    <a:pt x="18654" y="17342"/>
                  </a:cubicBezTo>
                  <a:cubicBezTo>
                    <a:pt x="18698" y="17398"/>
                    <a:pt x="18735" y="17460"/>
                    <a:pt x="18779" y="17523"/>
                  </a:cubicBezTo>
                  <a:cubicBezTo>
                    <a:pt x="19030" y="17886"/>
                    <a:pt x="19017" y="17761"/>
                    <a:pt x="18748" y="18067"/>
                  </a:cubicBezTo>
                  <a:cubicBezTo>
                    <a:pt x="18553" y="18293"/>
                    <a:pt x="18328" y="18493"/>
                    <a:pt x="18121" y="18706"/>
                  </a:cubicBezTo>
                  <a:cubicBezTo>
                    <a:pt x="18045" y="18787"/>
                    <a:pt x="17983" y="18787"/>
                    <a:pt x="17889" y="18724"/>
                  </a:cubicBezTo>
                  <a:cubicBezTo>
                    <a:pt x="17575" y="18512"/>
                    <a:pt x="17255" y="18299"/>
                    <a:pt x="16936" y="18092"/>
                  </a:cubicBezTo>
                  <a:cubicBezTo>
                    <a:pt x="16817" y="18011"/>
                    <a:pt x="16735" y="17892"/>
                    <a:pt x="16647" y="17786"/>
                  </a:cubicBezTo>
                  <a:cubicBezTo>
                    <a:pt x="16578" y="17705"/>
                    <a:pt x="16522" y="17692"/>
                    <a:pt x="16440" y="17761"/>
                  </a:cubicBezTo>
                  <a:cubicBezTo>
                    <a:pt x="16064" y="18067"/>
                    <a:pt x="15663" y="18343"/>
                    <a:pt x="15243" y="18587"/>
                  </a:cubicBezTo>
                  <a:cubicBezTo>
                    <a:pt x="15186" y="18618"/>
                    <a:pt x="15124" y="18649"/>
                    <a:pt x="15174" y="18731"/>
                  </a:cubicBezTo>
                  <a:cubicBezTo>
                    <a:pt x="15462" y="19162"/>
                    <a:pt x="15481" y="19676"/>
                    <a:pt x="15606" y="20157"/>
                  </a:cubicBezTo>
                  <a:cubicBezTo>
                    <a:pt x="15682" y="20439"/>
                    <a:pt x="15701" y="20401"/>
                    <a:pt x="15418" y="20533"/>
                  </a:cubicBezTo>
                  <a:cubicBezTo>
                    <a:pt x="15124" y="20670"/>
                    <a:pt x="14823" y="20789"/>
                    <a:pt x="14528" y="20914"/>
                  </a:cubicBezTo>
                  <a:cubicBezTo>
                    <a:pt x="14434" y="20952"/>
                    <a:pt x="14378" y="20940"/>
                    <a:pt x="14321" y="20852"/>
                  </a:cubicBezTo>
                  <a:cubicBezTo>
                    <a:pt x="14108" y="20527"/>
                    <a:pt x="13888" y="20214"/>
                    <a:pt x="13675" y="19888"/>
                  </a:cubicBezTo>
                  <a:cubicBezTo>
                    <a:pt x="13594" y="19763"/>
                    <a:pt x="13562" y="19619"/>
                    <a:pt x="13525" y="19482"/>
                  </a:cubicBezTo>
                  <a:cubicBezTo>
                    <a:pt x="13500" y="19394"/>
                    <a:pt x="13456" y="19369"/>
                    <a:pt x="13362" y="19394"/>
                  </a:cubicBezTo>
                  <a:cubicBezTo>
                    <a:pt x="12885" y="19538"/>
                    <a:pt x="12403" y="19638"/>
                    <a:pt x="11907" y="19701"/>
                  </a:cubicBezTo>
                  <a:cubicBezTo>
                    <a:pt x="11826" y="19713"/>
                    <a:pt x="11801" y="19751"/>
                    <a:pt x="11813" y="19826"/>
                  </a:cubicBezTo>
                  <a:cubicBezTo>
                    <a:pt x="11901" y="20376"/>
                    <a:pt x="11700" y="20896"/>
                    <a:pt x="11638" y="21434"/>
                  </a:cubicBezTo>
                  <a:cubicBezTo>
                    <a:pt x="11625" y="21528"/>
                    <a:pt x="11575" y="21559"/>
                    <a:pt x="11493" y="21559"/>
                  </a:cubicBezTo>
                  <a:cubicBezTo>
                    <a:pt x="11293" y="21565"/>
                    <a:pt x="11086" y="21578"/>
                    <a:pt x="10885" y="21584"/>
                  </a:cubicBezTo>
                  <a:cubicBezTo>
                    <a:pt x="10873" y="21540"/>
                    <a:pt x="10873" y="21540"/>
                    <a:pt x="10873" y="21534"/>
                  </a:cubicBezTo>
                  <a:close/>
                  <a:moveTo>
                    <a:pt x="10822" y="17642"/>
                  </a:moveTo>
                  <a:cubicBezTo>
                    <a:pt x="14572" y="17579"/>
                    <a:pt x="17669" y="14645"/>
                    <a:pt x="17650" y="10721"/>
                  </a:cubicBezTo>
                  <a:cubicBezTo>
                    <a:pt x="17638" y="6973"/>
                    <a:pt x="14647" y="3882"/>
                    <a:pt x="10710" y="3907"/>
                  </a:cubicBezTo>
                  <a:cubicBezTo>
                    <a:pt x="6948" y="3932"/>
                    <a:pt x="3869" y="6923"/>
                    <a:pt x="3894" y="10834"/>
                  </a:cubicBezTo>
                  <a:cubicBezTo>
                    <a:pt x="3926" y="14582"/>
                    <a:pt x="6916" y="17611"/>
                    <a:pt x="10822" y="17642"/>
                  </a:cubicBezTo>
                  <a:close/>
                </a:path>
              </a:pathLst>
            </a:custGeom>
            <a:solidFill>
              <a:srgbClr val="FFFFFF">
                <a:alpha val="10000"/>
              </a:srgbClr>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latin typeface="Verdana"/>
                  <a:ea typeface="Verdana"/>
                  <a:cs typeface="Verdana"/>
                  <a:sym typeface="Verdana"/>
                </a:defRPr>
              </a:pPr>
              <a:endParaRPr kumimoji="0" sz="1300" b="0" i="0" u="none" strike="noStrike" kern="1200" cap="none" spc="0" normalizeH="0" baseline="0" noProof="0">
                <a:ln>
                  <a:noFill/>
                </a:ln>
                <a:solidFill>
                  <a:srgbClr val="000000"/>
                </a:solidFill>
                <a:effectLst/>
                <a:uLnTx/>
                <a:uFillTx/>
                <a:latin typeface="Verdana"/>
                <a:ea typeface="Verdana"/>
                <a:cs typeface="Verdana"/>
                <a:sym typeface="Verdana"/>
              </a:endParaRPr>
            </a:p>
          </p:txBody>
        </p:sp>
        <p:sp>
          <p:nvSpPr>
            <p:cNvPr id="36" name="Rectangle: Top Corners Rounded 31">
              <a:extLst>
                <a:ext uri="{FF2B5EF4-FFF2-40B4-BE49-F238E27FC236}">
                  <a16:creationId xmlns:a16="http://schemas.microsoft.com/office/drawing/2014/main" id="{6578ED5F-DF56-4347-9D5C-B9C7098F0DE9}"/>
                </a:ext>
              </a:extLst>
            </p:cNvPr>
            <p:cNvSpPr/>
            <p:nvPr/>
          </p:nvSpPr>
          <p:spPr>
            <a:xfrm rot="10800000" flipH="1">
              <a:off x="760153" y="0"/>
              <a:ext cx="2825115" cy="446911"/>
            </a:xfrm>
            <a:custGeom>
              <a:avLst/>
              <a:gdLst/>
              <a:ahLst/>
              <a:cxnLst>
                <a:cxn ang="0">
                  <a:pos x="wd2" y="hd2"/>
                </a:cxn>
                <a:cxn ang="5400000">
                  <a:pos x="wd2" y="hd2"/>
                </a:cxn>
                <a:cxn ang="10800000">
                  <a:pos x="wd2" y="hd2"/>
                </a:cxn>
                <a:cxn ang="16200000">
                  <a:pos x="wd2" y="hd2"/>
                </a:cxn>
              </a:cxnLst>
              <a:rect l="0" t="0" r="r" b="b"/>
              <a:pathLst>
                <a:path w="21600" h="21600" extrusionOk="0">
                  <a:moveTo>
                    <a:pt x="1708" y="0"/>
                  </a:moveTo>
                  <a:lnTo>
                    <a:pt x="19892" y="0"/>
                  </a:lnTo>
                  <a:cubicBezTo>
                    <a:pt x="20835" y="0"/>
                    <a:pt x="21600" y="4835"/>
                    <a:pt x="21600" y="10800"/>
                  </a:cubicBezTo>
                  <a:lnTo>
                    <a:pt x="21600" y="21600"/>
                  </a:lnTo>
                  <a:lnTo>
                    <a:pt x="0" y="21600"/>
                  </a:lnTo>
                  <a:lnTo>
                    <a:pt x="0" y="10800"/>
                  </a:lnTo>
                  <a:cubicBezTo>
                    <a:pt x="0" y="4835"/>
                    <a:pt x="765" y="0"/>
                    <a:pt x="1708" y="0"/>
                  </a:cubicBezTo>
                  <a:close/>
                </a:path>
              </a:pathLst>
            </a:custGeom>
            <a:solidFill>
              <a:srgbClr val="12ABDB"/>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solidFill>
                    <a:srgbClr val="FFFFFF"/>
                  </a:solidFill>
                  <a:latin typeface="Verdana"/>
                  <a:ea typeface="Verdana"/>
                  <a:cs typeface="Verdana"/>
                  <a:sym typeface="Verdana"/>
                </a:defRPr>
              </a:pPr>
              <a:endParaRPr kumimoji="0" sz="1300" b="0" i="0" u="none" strike="noStrike" kern="1200" cap="none" spc="0" normalizeH="0" baseline="0" noProof="0">
                <a:ln>
                  <a:noFill/>
                </a:ln>
                <a:solidFill>
                  <a:srgbClr val="FFFFFF"/>
                </a:solidFill>
                <a:effectLst/>
                <a:uLnTx/>
                <a:uFillTx/>
                <a:latin typeface="Verdana"/>
                <a:ea typeface="Verdana"/>
                <a:cs typeface="Verdana"/>
                <a:sym typeface="Verdana"/>
              </a:endParaRPr>
            </a:p>
          </p:txBody>
        </p:sp>
        <p:grpSp>
          <p:nvGrpSpPr>
            <p:cNvPr id="37" name="Group 33">
              <a:extLst>
                <a:ext uri="{FF2B5EF4-FFF2-40B4-BE49-F238E27FC236}">
                  <a16:creationId xmlns:a16="http://schemas.microsoft.com/office/drawing/2014/main" id="{49E96553-C6B0-474D-89C0-C01CCE82E84A}"/>
                </a:ext>
              </a:extLst>
            </p:cNvPr>
            <p:cNvGrpSpPr/>
            <p:nvPr/>
          </p:nvGrpSpPr>
          <p:grpSpPr>
            <a:xfrm>
              <a:off x="4142593" y="5182305"/>
              <a:ext cx="1330976" cy="1905615"/>
              <a:chOff x="0" y="0"/>
              <a:chExt cx="1330974" cy="1905613"/>
            </a:xfrm>
          </p:grpSpPr>
          <p:sp>
            <p:nvSpPr>
              <p:cNvPr id="69" name="Trapezoid 34">
                <a:extLst>
                  <a:ext uri="{FF2B5EF4-FFF2-40B4-BE49-F238E27FC236}">
                    <a16:creationId xmlns:a16="http://schemas.microsoft.com/office/drawing/2014/main" id="{80312FE4-F177-4BC1-98BF-0E31787AFE41}"/>
                  </a:ext>
                </a:extLst>
              </p:cNvPr>
              <p:cNvSpPr/>
              <p:nvPr/>
            </p:nvSpPr>
            <p:spPr>
              <a:xfrm rot="9449291">
                <a:off x="311834" y="67982"/>
                <a:ext cx="707314" cy="1769647"/>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980" y="0"/>
                    </a:lnTo>
                    <a:lnTo>
                      <a:pt x="19620" y="0"/>
                    </a:lnTo>
                    <a:lnTo>
                      <a:pt x="21600" y="21600"/>
                    </a:lnTo>
                    <a:close/>
                  </a:path>
                </a:pathLst>
              </a:custGeom>
              <a:solidFill>
                <a:srgbClr val="12ABDB"/>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solidFill>
                      <a:srgbClr val="FFFFFF"/>
                    </a:solidFill>
                    <a:latin typeface="Verdana"/>
                    <a:ea typeface="Verdana"/>
                    <a:cs typeface="Verdana"/>
                    <a:sym typeface="Verdana"/>
                  </a:defRPr>
                </a:pPr>
                <a:endParaRPr kumimoji="0" sz="1300" b="0" i="0" u="none" strike="noStrike" kern="1200" cap="none" spc="0" normalizeH="0" baseline="0" noProof="0">
                  <a:ln>
                    <a:noFill/>
                  </a:ln>
                  <a:solidFill>
                    <a:srgbClr val="FFFFFF"/>
                  </a:solidFill>
                  <a:effectLst/>
                  <a:uLnTx/>
                  <a:uFillTx/>
                  <a:latin typeface="Verdana"/>
                  <a:ea typeface="Verdana"/>
                  <a:cs typeface="Verdana"/>
                  <a:sym typeface="Verdana"/>
                </a:endParaRPr>
              </a:p>
            </p:txBody>
          </p:sp>
          <p:sp>
            <p:nvSpPr>
              <p:cNvPr id="70" name="Trapezoid 94">
                <a:extLst>
                  <a:ext uri="{FF2B5EF4-FFF2-40B4-BE49-F238E27FC236}">
                    <a16:creationId xmlns:a16="http://schemas.microsoft.com/office/drawing/2014/main" id="{7A7C284D-DBF9-4938-9173-0C90F03A82FC}"/>
                  </a:ext>
                </a:extLst>
              </p:cNvPr>
              <p:cNvSpPr/>
              <p:nvPr/>
            </p:nvSpPr>
            <p:spPr>
              <a:xfrm rot="9449291">
                <a:off x="328963" y="154090"/>
                <a:ext cx="257535" cy="1769646"/>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0" y="0"/>
                    </a:lnTo>
                    <a:lnTo>
                      <a:pt x="15782" y="40"/>
                    </a:lnTo>
                    <a:lnTo>
                      <a:pt x="21600" y="21600"/>
                    </a:lnTo>
                    <a:lnTo>
                      <a:pt x="0" y="21600"/>
                    </a:lnTo>
                    <a:close/>
                  </a:path>
                </a:pathLst>
              </a:custGeom>
              <a:solidFill>
                <a:srgbClr val="0E80A4"/>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solidFill>
                      <a:srgbClr val="FFFFFF"/>
                    </a:solidFill>
                    <a:latin typeface="Verdana"/>
                    <a:ea typeface="Verdana"/>
                    <a:cs typeface="Verdana"/>
                    <a:sym typeface="Verdana"/>
                  </a:defRPr>
                </a:pPr>
                <a:endParaRPr kumimoji="0" sz="1300" b="0" i="0" u="none" strike="noStrike" kern="1200" cap="none" spc="0" normalizeH="0" baseline="0" noProof="0">
                  <a:ln>
                    <a:noFill/>
                  </a:ln>
                  <a:solidFill>
                    <a:srgbClr val="FFFFFF"/>
                  </a:solidFill>
                  <a:effectLst/>
                  <a:uLnTx/>
                  <a:uFillTx/>
                  <a:latin typeface="Verdana"/>
                  <a:ea typeface="Verdana"/>
                  <a:cs typeface="Verdana"/>
                  <a:sym typeface="Verdana"/>
                </a:endParaRPr>
              </a:p>
            </p:txBody>
          </p:sp>
        </p:grpSp>
        <p:grpSp>
          <p:nvGrpSpPr>
            <p:cNvPr id="38" name="Group 36">
              <a:extLst>
                <a:ext uri="{FF2B5EF4-FFF2-40B4-BE49-F238E27FC236}">
                  <a16:creationId xmlns:a16="http://schemas.microsoft.com/office/drawing/2014/main" id="{3FA79DB3-9842-4271-890B-F523E0B04329}"/>
                </a:ext>
              </a:extLst>
            </p:cNvPr>
            <p:cNvGrpSpPr/>
            <p:nvPr/>
          </p:nvGrpSpPr>
          <p:grpSpPr>
            <a:xfrm>
              <a:off x="4859845" y="6721933"/>
              <a:ext cx="672980" cy="672977"/>
              <a:chOff x="0" y="0"/>
              <a:chExt cx="672979" cy="672975"/>
            </a:xfrm>
          </p:grpSpPr>
          <p:sp>
            <p:nvSpPr>
              <p:cNvPr id="67" name="Oval 37">
                <a:extLst>
                  <a:ext uri="{FF2B5EF4-FFF2-40B4-BE49-F238E27FC236}">
                    <a16:creationId xmlns:a16="http://schemas.microsoft.com/office/drawing/2014/main" id="{4A21E8B1-C714-4B88-87C0-B94DB8158893}"/>
                  </a:ext>
                </a:extLst>
              </p:cNvPr>
              <p:cNvSpPr/>
              <p:nvPr/>
            </p:nvSpPr>
            <p:spPr>
              <a:xfrm rot="4904020">
                <a:off x="39602" y="39598"/>
                <a:ext cx="593775" cy="593780"/>
              </a:xfrm>
              <a:prstGeom prst="ellipse">
                <a:avLst/>
              </a:prstGeom>
              <a:solidFill>
                <a:srgbClr val="12ABDB"/>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solidFill>
                      <a:srgbClr val="FFFFFF"/>
                    </a:solidFill>
                    <a:latin typeface="Verdana"/>
                    <a:ea typeface="Verdana"/>
                    <a:cs typeface="Verdana"/>
                    <a:sym typeface="Verdana"/>
                  </a:defRPr>
                </a:pPr>
                <a:endParaRPr kumimoji="0" sz="1300" b="0" i="0" u="none" strike="noStrike" kern="1200" cap="none" spc="0" normalizeH="0" baseline="0" noProof="0">
                  <a:ln>
                    <a:noFill/>
                  </a:ln>
                  <a:solidFill>
                    <a:srgbClr val="FFFFFF"/>
                  </a:solidFill>
                  <a:effectLst/>
                  <a:uLnTx/>
                  <a:uFillTx/>
                  <a:latin typeface="Verdana"/>
                  <a:ea typeface="Verdana"/>
                  <a:cs typeface="Verdana"/>
                  <a:sym typeface="Verdana"/>
                </a:endParaRPr>
              </a:p>
            </p:txBody>
          </p:sp>
          <p:sp>
            <p:nvSpPr>
              <p:cNvPr id="68" name="Freeform: Shape 37">
                <a:extLst>
                  <a:ext uri="{FF2B5EF4-FFF2-40B4-BE49-F238E27FC236}">
                    <a16:creationId xmlns:a16="http://schemas.microsoft.com/office/drawing/2014/main" id="{D15A66A0-C5F8-4061-B645-46B8919BA545}"/>
                  </a:ext>
                </a:extLst>
              </p:cNvPr>
              <p:cNvSpPr/>
              <p:nvPr/>
            </p:nvSpPr>
            <p:spPr>
              <a:xfrm rot="4904020">
                <a:off x="133239" y="134077"/>
                <a:ext cx="405558" cy="405231"/>
              </a:xfrm>
              <a:custGeom>
                <a:avLst/>
                <a:gdLst/>
                <a:ahLst/>
                <a:cxnLst>
                  <a:cxn ang="0">
                    <a:pos x="wd2" y="hd2"/>
                  </a:cxn>
                  <a:cxn ang="5400000">
                    <a:pos x="wd2" y="hd2"/>
                  </a:cxn>
                  <a:cxn ang="10800000">
                    <a:pos x="wd2" y="hd2"/>
                  </a:cxn>
                  <a:cxn ang="16200000">
                    <a:pos x="wd2" y="hd2"/>
                  </a:cxn>
                </a:cxnLst>
                <a:rect l="0" t="0" r="r" b="b"/>
                <a:pathLst>
                  <a:path w="21590" h="21596" extrusionOk="0">
                    <a:moveTo>
                      <a:pt x="10788" y="6881"/>
                    </a:moveTo>
                    <a:cubicBezTo>
                      <a:pt x="8642" y="6881"/>
                      <a:pt x="6902" y="8623"/>
                      <a:pt x="6902" y="10771"/>
                    </a:cubicBezTo>
                    <a:cubicBezTo>
                      <a:pt x="6902" y="12920"/>
                      <a:pt x="8642" y="14662"/>
                      <a:pt x="10788" y="14662"/>
                    </a:cubicBezTo>
                    <a:cubicBezTo>
                      <a:pt x="12935" y="14662"/>
                      <a:pt x="14675" y="12920"/>
                      <a:pt x="14675" y="10771"/>
                    </a:cubicBezTo>
                    <a:cubicBezTo>
                      <a:pt x="14675" y="8623"/>
                      <a:pt x="12935" y="6881"/>
                      <a:pt x="10788" y="6881"/>
                    </a:cubicBezTo>
                    <a:close/>
                    <a:moveTo>
                      <a:pt x="10319" y="8"/>
                    </a:moveTo>
                    <a:cubicBezTo>
                      <a:pt x="10539" y="19"/>
                      <a:pt x="10690" y="135"/>
                      <a:pt x="10748" y="356"/>
                    </a:cubicBezTo>
                    <a:cubicBezTo>
                      <a:pt x="10887" y="850"/>
                      <a:pt x="11032" y="1349"/>
                      <a:pt x="11171" y="1842"/>
                    </a:cubicBezTo>
                    <a:cubicBezTo>
                      <a:pt x="11316" y="2348"/>
                      <a:pt x="11734" y="2586"/>
                      <a:pt x="12250" y="2452"/>
                    </a:cubicBezTo>
                    <a:cubicBezTo>
                      <a:pt x="12418" y="2412"/>
                      <a:pt x="12517" y="2290"/>
                      <a:pt x="12598" y="2150"/>
                    </a:cubicBezTo>
                    <a:cubicBezTo>
                      <a:pt x="12865" y="1692"/>
                      <a:pt x="13138" y="1233"/>
                      <a:pt x="13410" y="774"/>
                    </a:cubicBezTo>
                    <a:cubicBezTo>
                      <a:pt x="13584" y="478"/>
                      <a:pt x="13735" y="414"/>
                      <a:pt x="14066" y="501"/>
                    </a:cubicBezTo>
                    <a:cubicBezTo>
                      <a:pt x="14727" y="670"/>
                      <a:pt x="14814" y="815"/>
                      <a:pt x="14715" y="1552"/>
                    </a:cubicBezTo>
                    <a:cubicBezTo>
                      <a:pt x="14657" y="1993"/>
                      <a:pt x="14605" y="2435"/>
                      <a:pt x="14553" y="2876"/>
                    </a:cubicBezTo>
                    <a:cubicBezTo>
                      <a:pt x="14547" y="2922"/>
                      <a:pt x="14547" y="2969"/>
                      <a:pt x="14553" y="3015"/>
                    </a:cubicBezTo>
                    <a:cubicBezTo>
                      <a:pt x="14628" y="3486"/>
                      <a:pt x="15342" y="3811"/>
                      <a:pt x="15730" y="3538"/>
                    </a:cubicBezTo>
                    <a:cubicBezTo>
                      <a:pt x="16171" y="3224"/>
                      <a:pt x="16594" y="2893"/>
                      <a:pt x="17024" y="2568"/>
                    </a:cubicBezTo>
                    <a:cubicBezTo>
                      <a:pt x="17337" y="2330"/>
                      <a:pt x="17494" y="2336"/>
                      <a:pt x="17807" y="2580"/>
                    </a:cubicBezTo>
                    <a:cubicBezTo>
                      <a:pt x="17847" y="2615"/>
                      <a:pt x="17888" y="2644"/>
                      <a:pt x="17928" y="2684"/>
                    </a:cubicBezTo>
                    <a:cubicBezTo>
                      <a:pt x="18294" y="3033"/>
                      <a:pt x="18311" y="3137"/>
                      <a:pt x="18062" y="3579"/>
                    </a:cubicBezTo>
                    <a:cubicBezTo>
                      <a:pt x="17824" y="4003"/>
                      <a:pt x="17598" y="4432"/>
                      <a:pt x="17348" y="4850"/>
                    </a:cubicBezTo>
                    <a:cubicBezTo>
                      <a:pt x="17169" y="5158"/>
                      <a:pt x="17250" y="5413"/>
                      <a:pt x="17447" y="5675"/>
                    </a:cubicBezTo>
                    <a:cubicBezTo>
                      <a:pt x="17644" y="5936"/>
                      <a:pt x="17871" y="6064"/>
                      <a:pt x="18201" y="5977"/>
                    </a:cubicBezTo>
                    <a:cubicBezTo>
                      <a:pt x="18712" y="5843"/>
                      <a:pt x="19222" y="5715"/>
                      <a:pt x="19727" y="5576"/>
                    </a:cubicBezTo>
                    <a:cubicBezTo>
                      <a:pt x="20051" y="5489"/>
                      <a:pt x="20196" y="5541"/>
                      <a:pt x="20376" y="5826"/>
                    </a:cubicBezTo>
                    <a:cubicBezTo>
                      <a:pt x="20457" y="5948"/>
                      <a:pt x="20527" y="6075"/>
                      <a:pt x="20573" y="6215"/>
                    </a:cubicBezTo>
                    <a:cubicBezTo>
                      <a:pt x="20660" y="6464"/>
                      <a:pt x="20620" y="6621"/>
                      <a:pt x="20411" y="6790"/>
                    </a:cubicBezTo>
                    <a:cubicBezTo>
                      <a:pt x="19976" y="7138"/>
                      <a:pt x="19547" y="7486"/>
                      <a:pt x="19106" y="7829"/>
                    </a:cubicBezTo>
                    <a:cubicBezTo>
                      <a:pt x="18886" y="7997"/>
                      <a:pt x="18828" y="8206"/>
                      <a:pt x="18874" y="8462"/>
                    </a:cubicBezTo>
                    <a:cubicBezTo>
                      <a:pt x="18891" y="8549"/>
                      <a:pt x="18920" y="8630"/>
                      <a:pt x="18944" y="8717"/>
                    </a:cubicBezTo>
                    <a:cubicBezTo>
                      <a:pt x="19019" y="8990"/>
                      <a:pt x="19199" y="9141"/>
                      <a:pt x="19477" y="9176"/>
                    </a:cubicBezTo>
                    <a:cubicBezTo>
                      <a:pt x="20005" y="9246"/>
                      <a:pt x="20533" y="9321"/>
                      <a:pt x="21055" y="9391"/>
                    </a:cubicBezTo>
                    <a:cubicBezTo>
                      <a:pt x="21368" y="9431"/>
                      <a:pt x="21530" y="9582"/>
                      <a:pt x="21565" y="9896"/>
                    </a:cubicBezTo>
                    <a:cubicBezTo>
                      <a:pt x="21583" y="10047"/>
                      <a:pt x="21600" y="10198"/>
                      <a:pt x="21583" y="10349"/>
                    </a:cubicBezTo>
                    <a:cubicBezTo>
                      <a:pt x="21554" y="10587"/>
                      <a:pt x="21432" y="10721"/>
                      <a:pt x="21211" y="10784"/>
                    </a:cubicBezTo>
                    <a:cubicBezTo>
                      <a:pt x="20718" y="10924"/>
                      <a:pt x="20220" y="11063"/>
                      <a:pt x="19727" y="11208"/>
                    </a:cubicBezTo>
                    <a:cubicBezTo>
                      <a:pt x="19245" y="11348"/>
                      <a:pt x="19025" y="11713"/>
                      <a:pt x="19123" y="12213"/>
                    </a:cubicBezTo>
                    <a:cubicBezTo>
                      <a:pt x="19158" y="12404"/>
                      <a:pt x="19268" y="12526"/>
                      <a:pt x="19431" y="12619"/>
                    </a:cubicBezTo>
                    <a:cubicBezTo>
                      <a:pt x="19883" y="12886"/>
                      <a:pt x="20336" y="13153"/>
                      <a:pt x="20794" y="13420"/>
                    </a:cubicBezTo>
                    <a:cubicBezTo>
                      <a:pt x="21130" y="13618"/>
                      <a:pt x="21182" y="13734"/>
                      <a:pt x="21090" y="14111"/>
                    </a:cubicBezTo>
                    <a:cubicBezTo>
                      <a:pt x="21084" y="14135"/>
                      <a:pt x="21084" y="14158"/>
                      <a:pt x="21078" y="14181"/>
                    </a:cubicBezTo>
                    <a:cubicBezTo>
                      <a:pt x="20939" y="14640"/>
                      <a:pt x="20782" y="14866"/>
                      <a:pt x="20260" y="14768"/>
                    </a:cubicBezTo>
                    <a:cubicBezTo>
                      <a:pt x="19790" y="14675"/>
                      <a:pt x="19309" y="14657"/>
                      <a:pt x="18833" y="14588"/>
                    </a:cubicBezTo>
                    <a:cubicBezTo>
                      <a:pt x="18497" y="14541"/>
                      <a:pt x="18277" y="14675"/>
                      <a:pt x="18114" y="14959"/>
                    </a:cubicBezTo>
                    <a:cubicBezTo>
                      <a:pt x="17946" y="15250"/>
                      <a:pt x="17871" y="15522"/>
                      <a:pt x="18103" y="15819"/>
                    </a:cubicBezTo>
                    <a:cubicBezTo>
                      <a:pt x="18416" y="16219"/>
                      <a:pt x="18717" y="16632"/>
                      <a:pt x="19025" y="17038"/>
                    </a:cubicBezTo>
                    <a:cubicBezTo>
                      <a:pt x="19280" y="17369"/>
                      <a:pt x="19280" y="17503"/>
                      <a:pt x="19025" y="17833"/>
                    </a:cubicBezTo>
                    <a:cubicBezTo>
                      <a:pt x="19013" y="17845"/>
                      <a:pt x="19002" y="17862"/>
                      <a:pt x="18990" y="17874"/>
                    </a:cubicBezTo>
                    <a:cubicBezTo>
                      <a:pt x="18653" y="18234"/>
                      <a:pt x="18520" y="18391"/>
                      <a:pt x="17992" y="18071"/>
                    </a:cubicBezTo>
                    <a:cubicBezTo>
                      <a:pt x="17586" y="17828"/>
                      <a:pt x="17157" y="17619"/>
                      <a:pt x="16757" y="17375"/>
                    </a:cubicBezTo>
                    <a:cubicBezTo>
                      <a:pt x="16426" y="17177"/>
                      <a:pt x="16171" y="17293"/>
                      <a:pt x="15910" y="17497"/>
                    </a:cubicBezTo>
                    <a:cubicBezTo>
                      <a:pt x="15649" y="17694"/>
                      <a:pt x="15545" y="17932"/>
                      <a:pt x="15637" y="18263"/>
                    </a:cubicBezTo>
                    <a:cubicBezTo>
                      <a:pt x="15782" y="18774"/>
                      <a:pt x="15910" y="19291"/>
                      <a:pt x="16038" y="19808"/>
                    </a:cubicBezTo>
                    <a:cubicBezTo>
                      <a:pt x="16107" y="20086"/>
                      <a:pt x="16049" y="20237"/>
                      <a:pt x="15811" y="20388"/>
                    </a:cubicBezTo>
                    <a:cubicBezTo>
                      <a:pt x="15684" y="20470"/>
                      <a:pt x="15550" y="20545"/>
                      <a:pt x="15405" y="20597"/>
                    </a:cubicBezTo>
                    <a:cubicBezTo>
                      <a:pt x="15150" y="20690"/>
                      <a:pt x="14965" y="20644"/>
                      <a:pt x="14796" y="20429"/>
                    </a:cubicBezTo>
                    <a:cubicBezTo>
                      <a:pt x="14477" y="20028"/>
                      <a:pt x="14158" y="19622"/>
                      <a:pt x="13839" y="19215"/>
                    </a:cubicBezTo>
                    <a:cubicBezTo>
                      <a:pt x="13532" y="18832"/>
                      <a:pt x="12975" y="18780"/>
                      <a:pt x="12604" y="19111"/>
                    </a:cubicBezTo>
                    <a:cubicBezTo>
                      <a:pt x="12505" y="19198"/>
                      <a:pt x="12459" y="19308"/>
                      <a:pt x="12441" y="19436"/>
                    </a:cubicBezTo>
                    <a:cubicBezTo>
                      <a:pt x="12366" y="19970"/>
                      <a:pt x="12279" y="20499"/>
                      <a:pt x="12221" y="21033"/>
                    </a:cubicBezTo>
                    <a:cubicBezTo>
                      <a:pt x="12186" y="21312"/>
                      <a:pt x="12076" y="21509"/>
                      <a:pt x="11804" y="21596"/>
                    </a:cubicBezTo>
                    <a:cubicBezTo>
                      <a:pt x="11571" y="21596"/>
                      <a:pt x="11334" y="21596"/>
                      <a:pt x="11102" y="21596"/>
                    </a:cubicBezTo>
                    <a:cubicBezTo>
                      <a:pt x="10939" y="21497"/>
                      <a:pt x="10846" y="21352"/>
                      <a:pt x="10794" y="21166"/>
                    </a:cubicBezTo>
                    <a:cubicBezTo>
                      <a:pt x="10655" y="20655"/>
                      <a:pt x="10498" y="20144"/>
                      <a:pt x="10359" y="19628"/>
                    </a:cubicBezTo>
                    <a:cubicBezTo>
                      <a:pt x="10284" y="19355"/>
                      <a:pt x="10116" y="19210"/>
                      <a:pt x="9843" y="19175"/>
                    </a:cubicBezTo>
                    <a:cubicBezTo>
                      <a:pt x="9739" y="19163"/>
                      <a:pt x="9634" y="19146"/>
                      <a:pt x="9530" y="19140"/>
                    </a:cubicBezTo>
                    <a:cubicBezTo>
                      <a:pt x="9286" y="19122"/>
                      <a:pt x="9118" y="19233"/>
                      <a:pt x="8996" y="19436"/>
                    </a:cubicBezTo>
                    <a:cubicBezTo>
                      <a:pt x="8950" y="19511"/>
                      <a:pt x="8909" y="19587"/>
                      <a:pt x="8863" y="19662"/>
                    </a:cubicBezTo>
                    <a:cubicBezTo>
                      <a:pt x="8619" y="20075"/>
                      <a:pt x="8381" y="20493"/>
                      <a:pt x="8132" y="20899"/>
                    </a:cubicBezTo>
                    <a:cubicBezTo>
                      <a:pt x="7998" y="21126"/>
                      <a:pt x="7836" y="21184"/>
                      <a:pt x="7581" y="21126"/>
                    </a:cubicBezTo>
                    <a:cubicBezTo>
                      <a:pt x="7424" y="21091"/>
                      <a:pt x="7279" y="21039"/>
                      <a:pt x="7134" y="20975"/>
                    </a:cubicBezTo>
                    <a:cubicBezTo>
                      <a:pt x="6879" y="20853"/>
                      <a:pt x="6798" y="20696"/>
                      <a:pt x="6833" y="20411"/>
                    </a:cubicBezTo>
                    <a:cubicBezTo>
                      <a:pt x="6896" y="19883"/>
                      <a:pt x="6949" y="19355"/>
                      <a:pt x="7024" y="18826"/>
                    </a:cubicBezTo>
                    <a:cubicBezTo>
                      <a:pt x="7076" y="18455"/>
                      <a:pt x="6879" y="18252"/>
                      <a:pt x="6589" y="18089"/>
                    </a:cubicBezTo>
                    <a:cubicBezTo>
                      <a:pt x="6305" y="17932"/>
                      <a:pt x="6050" y="17909"/>
                      <a:pt x="5783" y="18130"/>
                    </a:cubicBezTo>
                    <a:cubicBezTo>
                      <a:pt x="5412" y="18426"/>
                      <a:pt x="5023" y="18699"/>
                      <a:pt x="4652" y="18989"/>
                    </a:cubicBezTo>
                    <a:cubicBezTo>
                      <a:pt x="4275" y="19285"/>
                      <a:pt x="4112" y="19349"/>
                      <a:pt x="3648" y="18931"/>
                    </a:cubicBezTo>
                    <a:cubicBezTo>
                      <a:pt x="3619" y="18902"/>
                      <a:pt x="3590" y="18873"/>
                      <a:pt x="3561" y="18844"/>
                    </a:cubicBezTo>
                    <a:cubicBezTo>
                      <a:pt x="3335" y="18612"/>
                      <a:pt x="3312" y="18432"/>
                      <a:pt x="3474" y="18147"/>
                    </a:cubicBezTo>
                    <a:cubicBezTo>
                      <a:pt x="3724" y="17700"/>
                      <a:pt x="3979" y="17247"/>
                      <a:pt x="4228" y="16800"/>
                    </a:cubicBezTo>
                    <a:cubicBezTo>
                      <a:pt x="4298" y="16672"/>
                      <a:pt x="4373" y="16544"/>
                      <a:pt x="4356" y="16388"/>
                    </a:cubicBezTo>
                    <a:cubicBezTo>
                      <a:pt x="4315" y="15917"/>
                      <a:pt x="3793" y="15546"/>
                      <a:pt x="3341" y="15662"/>
                    </a:cubicBezTo>
                    <a:cubicBezTo>
                      <a:pt x="2819" y="15795"/>
                      <a:pt x="2297" y="15929"/>
                      <a:pt x="1781" y="16068"/>
                    </a:cubicBezTo>
                    <a:cubicBezTo>
                      <a:pt x="1572" y="16126"/>
                      <a:pt x="1415" y="16062"/>
                      <a:pt x="1282" y="15900"/>
                    </a:cubicBezTo>
                    <a:cubicBezTo>
                      <a:pt x="1172" y="15766"/>
                      <a:pt x="1102" y="15615"/>
                      <a:pt x="1032" y="15459"/>
                    </a:cubicBezTo>
                    <a:cubicBezTo>
                      <a:pt x="916" y="15186"/>
                      <a:pt x="969" y="14988"/>
                      <a:pt x="1201" y="14808"/>
                    </a:cubicBezTo>
                    <a:cubicBezTo>
                      <a:pt x="1583" y="14501"/>
                      <a:pt x="1972" y="14199"/>
                      <a:pt x="2355" y="13891"/>
                    </a:cubicBezTo>
                    <a:cubicBezTo>
                      <a:pt x="2761" y="13577"/>
                      <a:pt x="2796" y="13444"/>
                      <a:pt x="2662" y="12956"/>
                    </a:cubicBezTo>
                    <a:cubicBezTo>
                      <a:pt x="2570" y="12637"/>
                      <a:pt x="2378" y="12468"/>
                      <a:pt x="2042" y="12433"/>
                    </a:cubicBezTo>
                    <a:cubicBezTo>
                      <a:pt x="1555" y="12381"/>
                      <a:pt x="1073" y="12288"/>
                      <a:pt x="586" y="12236"/>
                    </a:cubicBezTo>
                    <a:cubicBezTo>
                      <a:pt x="307" y="12207"/>
                      <a:pt x="110" y="12097"/>
                      <a:pt x="12" y="11830"/>
                    </a:cubicBezTo>
                    <a:cubicBezTo>
                      <a:pt x="0" y="11580"/>
                      <a:pt x="0" y="11348"/>
                      <a:pt x="0" y="11110"/>
                    </a:cubicBezTo>
                    <a:cubicBezTo>
                      <a:pt x="93" y="10935"/>
                      <a:pt x="238" y="10848"/>
                      <a:pt x="423" y="10802"/>
                    </a:cubicBezTo>
                    <a:cubicBezTo>
                      <a:pt x="922" y="10668"/>
                      <a:pt x="1409" y="10517"/>
                      <a:pt x="1908" y="10384"/>
                    </a:cubicBezTo>
                    <a:cubicBezTo>
                      <a:pt x="2210" y="10302"/>
                      <a:pt x="2390" y="10134"/>
                      <a:pt x="2419" y="9815"/>
                    </a:cubicBezTo>
                    <a:cubicBezTo>
                      <a:pt x="2424" y="9733"/>
                      <a:pt x="2436" y="9652"/>
                      <a:pt x="2448" y="9571"/>
                    </a:cubicBezTo>
                    <a:cubicBezTo>
                      <a:pt x="2477" y="9298"/>
                      <a:pt x="2355" y="9112"/>
                      <a:pt x="2129" y="8979"/>
                    </a:cubicBezTo>
                    <a:cubicBezTo>
                      <a:pt x="1676" y="8717"/>
                      <a:pt x="1230" y="8450"/>
                      <a:pt x="783" y="8189"/>
                    </a:cubicBezTo>
                    <a:cubicBezTo>
                      <a:pt x="452" y="7997"/>
                      <a:pt x="394" y="7852"/>
                      <a:pt x="493" y="7481"/>
                    </a:cubicBezTo>
                    <a:cubicBezTo>
                      <a:pt x="505" y="7446"/>
                      <a:pt x="510" y="7411"/>
                      <a:pt x="522" y="7382"/>
                    </a:cubicBezTo>
                    <a:cubicBezTo>
                      <a:pt x="667" y="6900"/>
                      <a:pt x="795" y="6807"/>
                      <a:pt x="1288" y="6853"/>
                    </a:cubicBezTo>
                    <a:cubicBezTo>
                      <a:pt x="1763" y="6900"/>
                      <a:pt x="2239" y="6952"/>
                      <a:pt x="2715" y="7016"/>
                    </a:cubicBezTo>
                    <a:cubicBezTo>
                      <a:pt x="3092" y="7062"/>
                      <a:pt x="3254" y="6999"/>
                      <a:pt x="3445" y="6679"/>
                    </a:cubicBezTo>
                    <a:cubicBezTo>
                      <a:pt x="3718" y="6238"/>
                      <a:pt x="3706" y="6099"/>
                      <a:pt x="3387" y="5686"/>
                    </a:cubicBezTo>
                    <a:cubicBezTo>
                      <a:pt x="3086" y="5297"/>
                      <a:pt x="2790" y="4902"/>
                      <a:pt x="2500" y="4508"/>
                    </a:cubicBezTo>
                    <a:cubicBezTo>
                      <a:pt x="2326" y="4275"/>
                      <a:pt x="2326" y="4084"/>
                      <a:pt x="2500" y="3852"/>
                    </a:cubicBezTo>
                    <a:cubicBezTo>
                      <a:pt x="2587" y="3735"/>
                      <a:pt x="2680" y="3619"/>
                      <a:pt x="2790" y="3526"/>
                    </a:cubicBezTo>
                    <a:cubicBezTo>
                      <a:pt x="3010" y="3341"/>
                      <a:pt x="3161" y="3317"/>
                      <a:pt x="3411" y="3457"/>
                    </a:cubicBezTo>
                    <a:cubicBezTo>
                      <a:pt x="3851" y="3701"/>
                      <a:pt x="4304" y="3927"/>
                      <a:pt x="4727" y="4200"/>
                    </a:cubicBezTo>
                    <a:cubicBezTo>
                      <a:pt x="5214" y="4513"/>
                      <a:pt x="5551" y="4304"/>
                      <a:pt x="5905" y="3869"/>
                    </a:cubicBezTo>
                    <a:cubicBezTo>
                      <a:pt x="6021" y="3724"/>
                      <a:pt x="5980" y="3532"/>
                      <a:pt x="5934" y="3358"/>
                    </a:cubicBezTo>
                    <a:cubicBezTo>
                      <a:pt x="5806" y="2864"/>
                      <a:pt x="5678" y="2371"/>
                      <a:pt x="5551" y="1877"/>
                    </a:cubicBezTo>
                    <a:cubicBezTo>
                      <a:pt x="5458" y="1523"/>
                      <a:pt x="5516" y="1378"/>
                      <a:pt x="5829" y="1192"/>
                    </a:cubicBezTo>
                    <a:cubicBezTo>
                      <a:pt x="5899" y="1151"/>
                      <a:pt x="5968" y="1111"/>
                      <a:pt x="6044" y="1076"/>
                    </a:cubicBezTo>
                    <a:cubicBezTo>
                      <a:pt x="6421" y="902"/>
                      <a:pt x="6589" y="943"/>
                      <a:pt x="6844" y="1273"/>
                    </a:cubicBezTo>
                    <a:cubicBezTo>
                      <a:pt x="7152" y="1662"/>
                      <a:pt x="7459" y="2057"/>
                      <a:pt x="7767" y="2446"/>
                    </a:cubicBezTo>
                    <a:cubicBezTo>
                      <a:pt x="8057" y="2806"/>
                      <a:pt x="8735" y="2806"/>
                      <a:pt x="9025" y="2441"/>
                    </a:cubicBezTo>
                    <a:cubicBezTo>
                      <a:pt x="9147" y="2284"/>
                      <a:pt x="9147" y="2086"/>
                      <a:pt x="9176" y="1906"/>
                    </a:cubicBezTo>
                    <a:cubicBezTo>
                      <a:pt x="9246" y="1453"/>
                      <a:pt x="9304" y="1001"/>
                      <a:pt x="9362" y="548"/>
                    </a:cubicBezTo>
                    <a:cubicBezTo>
                      <a:pt x="9408" y="188"/>
                      <a:pt x="9507" y="89"/>
                      <a:pt x="9866" y="25"/>
                    </a:cubicBezTo>
                    <a:cubicBezTo>
                      <a:pt x="10017" y="-4"/>
                      <a:pt x="10168" y="-4"/>
                      <a:pt x="10319" y="8"/>
                    </a:cubicBezTo>
                    <a:close/>
                  </a:path>
                </a:pathLst>
              </a:custGeom>
              <a:solidFill>
                <a:srgbClr val="FFFFFF"/>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latin typeface="Verdana"/>
                    <a:ea typeface="Verdana"/>
                    <a:cs typeface="Verdana"/>
                    <a:sym typeface="Verdana"/>
                  </a:defRPr>
                </a:pPr>
                <a:endParaRPr kumimoji="0" sz="1300" b="0" i="0" u="none" strike="noStrike" kern="1200" cap="none" spc="0" normalizeH="0" baseline="0" noProof="0">
                  <a:ln>
                    <a:noFill/>
                  </a:ln>
                  <a:solidFill>
                    <a:srgbClr val="000000"/>
                  </a:solidFill>
                  <a:effectLst/>
                  <a:uLnTx/>
                  <a:uFillTx/>
                  <a:latin typeface="Verdana"/>
                  <a:ea typeface="Verdana"/>
                  <a:cs typeface="Verdana"/>
                  <a:sym typeface="Verdana"/>
                </a:endParaRPr>
              </a:p>
            </p:txBody>
          </p:sp>
        </p:grpSp>
        <p:grpSp>
          <p:nvGrpSpPr>
            <p:cNvPr id="39" name="Group 39">
              <a:extLst>
                <a:ext uri="{FF2B5EF4-FFF2-40B4-BE49-F238E27FC236}">
                  <a16:creationId xmlns:a16="http://schemas.microsoft.com/office/drawing/2014/main" id="{5EE1C4CF-96D0-4E5D-8ACA-FF66DDF9F9A8}"/>
                </a:ext>
              </a:extLst>
            </p:cNvPr>
            <p:cNvGrpSpPr/>
            <p:nvPr/>
          </p:nvGrpSpPr>
          <p:grpSpPr>
            <a:xfrm>
              <a:off x="1857156" y="2765843"/>
              <a:ext cx="2734319" cy="2540103"/>
              <a:chOff x="0" y="0"/>
              <a:chExt cx="2734318" cy="2540101"/>
            </a:xfrm>
          </p:grpSpPr>
          <p:sp>
            <p:nvSpPr>
              <p:cNvPr id="65" name="Rectangle: Rounded Corners 39">
                <a:extLst>
                  <a:ext uri="{FF2B5EF4-FFF2-40B4-BE49-F238E27FC236}">
                    <a16:creationId xmlns:a16="http://schemas.microsoft.com/office/drawing/2014/main" id="{C45DE5A2-0C47-4ECB-9444-0699CD200421}"/>
                  </a:ext>
                </a:extLst>
              </p:cNvPr>
              <p:cNvSpPr/>
              <p:nvPr/>
            </p:nvSpPr>
            <p:spPr>
              <a:xfrm rot="18676758" flipH="1">
                <a:off x="935866" y="-155028"/>
                <a:ext cx="835956" cy="2869164"/>
              </a:xfrm>
              <a:prstGeom prst="roundRect">
                <a:avLst>
                  <a:gd name="adj" fmla="val 0"/>
                </a:avLst>
              </a:prstGeom>
              <a:solidFill>
                <a:srgbClr val="12ABDB"/>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solidFill>
                      <a:srgbClr val="FFFFFF"/>
                    </a:solidFill>
                    <a:latin typeface="Verdana"/>
                    <a:ea typeface="Verdana"/>
                    <a:cs typeface="Verdana"/>
                    <a:sym typeface="Verdana"/>
                  </a:defRPr>
                </a:pPr>
                <a:endParaRPr kumimoji="0" sz="1300" b="0" i="0" u="none" strike="noStrike" kern="1200" cap="none" spc="0" normalizeH="0" baseline="0" noProof="0">
                  <a:ln>
                    <a:noFill/>
                  </a:ln>
                  <a:solidFill>
                    <a:srgbClr val="FFFFFF"/>
                  </a:solidFill>
                  <a:effectLst/>
                  <a:uLnTx/>
                  <a:uFillTx/>
                  <a:latin typeface="Verdana"/>
                  <a:ea typeface="Verdana"/>
                  <a:cs typeface="Verdana"/>
                  <a:sym typeface="Verdana"/>
                </a:endParaRPr>
              </a:p>
            </p:txBody>
          </p:sp>
          <p:sp>
            <p:nvSpPr>
              <p:cNvPr id="66" name="Rectangle: Rounded Corners 40">
                <a:extLst>
                  <a:ext uri="{FF2B5EF4-FFF2-40B4-BE49-F238E27FC236}">
                    <a16:creationId xmlns:a16="http://schemas.microsoft.com/office/drawing/2014/main" id="{8985645F-3C8F-4C13-AA56-D7A6B2DB970E}"/>
                  </a:ext>
                </a:extLst>
              </p:cNvPr>
              <p:cNvSpPr/>
              <p:nvPr/>
            </p:nvSpPr>
            <p:spPr>
              <a:xfrm rot="18676758" flipH="1">
                <a:off x="1402017" y="-373043"/>
                <a:ext cx="306327" cy="2869164"/>
              </a:xfrm>
              <a:prstGeom prst="roundRect">
                <a:avLst>
                  <a:gd name="adj" fmla="val 0"/>
                </a:avLst>
              </a:prstGeom>
              <a:solidFill>
                <a:srgbClr val="0E80A4"/>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solidFill>
                      <a:srgbClr val="FFFFFF"/>
                    </a:solidFill>
                    <a:latin typeface="Verdana"/>
                    <a:ea typeface="Verdana"/>
                    <a:cs typeface="Verdana"/>
                    <a:sym typeface="Verdana"/>
                  </a:defRPr>
                </a:pPr>
                <a:endParaRPr kumimoji="0" sz="1300" b="0" i="0" u="none" strike="noStrike" kern="1200" cap="none" spc="0" normalizeH="0" baseline="0" noProof="0">
                  <a:ln>
                    <a:noFill/>
                  </a:ln>
                  <a:solidFill>
                    <a:srgbClr val="FFFFFF"/>
                  </a:solidFill>
                  <a:effectLst/>
                  <a:uLnTx/>
                  <a:uFillTx/>
                  <a:latin typeface="Verdana"/>
                  <a:ea typeface="Verdana"/>
                  <a:cs typeface="Verdana"/>
                  <a:sym typeface="Verdana"/>
                </a:endParaRPr>
              </a:p>
            </p:txBody>
          </p:sp>
        </p:grpSp>
        <p:grpSp>
          <p:nvGrpSpPr>
            <p:cNvPr id="40" name="Group 42">
              <a:extLst>
                <a:ext uri="{FF2B5EF4-FFF2-40B4-BE49-F238E27FC236}">
                  <a16:creationId xmlns:a16="http://schemas.microsoft.com/office/drawing/2014/main" id="{F2D218CB-B31F-4C26-BB97-12EE022C4754}"/>
                </a:ext>
              </a:extLst>
            </p:cNvPr>
            <p:cNvGrpSpPr/>
            <p:nvPr/>
          </p:nvGrpSpPr>
          <p:grpSpPr>
            <a:xfrm>
              <a:off x="3785234" y="4465332"/>
              <a:ext cx="1128613" cy="1128614"/>
              <a:chOff x="0" y="0"/>
              <a:chExt cx="1128612" cy="1128612"/>
            </a:xfrm>
          </p:grpSpPr>
          <p:sp>
            <p:nvSpPr>
              <p:cNvPr id="61" name="Oval 43">
                <a:extLst>
                  <a:ext uri="{FF2B5EF4-FFF2-40B4-BE49-F238E27FC236}">
                    <a16:creationId xmlns:a16="http://schemas.microsoft.com/office/drawing/2014/main" id="{8323E9E2-E5AD-45C7-BD82-28265B985900}"/>
                  </a:ext>
                </a:extLst>
              </p:cNvPr>
              <p:cNvSpPr/>
              <p:nvPr/>
            </p:nvSpPr>
            <p:spPr>
              <a:xfrm rot="9737426" flipH="1">
                <a:off x="115304" y="115304"/>
                <a:ext cx="898004" cy="898004"/>
              </a:xfrm>
              <a:prstGeom prst="ellipse">
                <a:avLst/>
              </a:prstGeom>
              <a:solidFill>
                <a:srgbClr val="12ABDB"/>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solidFill>
                      <a:srgbClr val="FFFFFF"/>
                    </a:solidFill>
                    <a:latin typeface="Verdana"/>
                    <a:ea typeface="Verdana"/>
                    <a:cs typeface="Verdana"/>
                    <a:sym typeface="Verdana"/>
                  </a:defRPr>
                </a:pPr>
                <a:endParaRPr kumimoji="0" sz="1300" b="0" i="0" u="none" strike="noStrike" kern="1200" cap="none" spc="0" normalizeH="0" baseline="0" noProof="0">
                  <a:ln>
                    <a:noFill/>
                  </a:ln>
                  <a:solidFill>
                    <a:srgbClr val="FFFFFF"/>
                  </a:solidFill>
                  <a:effectLst/>
                  <a:uLnTx/>
                  <a:uFillTx/>
                  <a:latin typeface="Verdana"/>
                  <a:ea typeface="Verdana"/>
                  <a:cs typeface="Verdana"/>
                  <a:sym typeface="Verdana"/>
                </a:endParaRPr>
              </a:p>
            </p:txBody>
          </p:sp>
          <p:sp>
            <p:nvSpPr>
              <p:cNvPr id="62" name="Freeform: Shape 43">
                <a:extLst>
                  <a:ext uri="{FF2B5EF4-FFF2-40B4-BE49-F238E27FC236}">
                    <a16:creationId xmlns:a16="http://schemas.microsoft.com/office/drawing/2014/main" id="{5B6754FC-0C5A-4ECE-81C2-6B2CC8A5DBFC}"/>
                  </a:ext>
                </a:extLst>
              </p:cNvPr>
              <p:cNvSpPr/>
              <p:nvPr/>
            </p:nvSpPr>
            <p:spPr>
              <a:xfrm rot="9737426" flipH="1">
                <a:off x="211927" y="210708"/>
                <a:ext cx="705428" cy="705613"/>
              </a:xfrm>
              <a:custGeom>
                <a:avLst/>
                <a:gdLst/>
                <a:ahLst/>
                <a:cxnLst>
                  <a:cxn ang="0">
                    <a:pos x="wd2" y="hd2"/>
                  </a:cxn>
                  <a:cxn ang="5400000">
                    <a:pos x="wd2" y="hd2"/>
                  </a:cxn>
                  <a:cxn ang="10800000">
                    <a:pos x="wd2" y="hd2"/>
                  </a:cxn>
                  <a:cxn ang="16200000">
                    <a:pos x="wd2" y="hd2"/>
                  </a:cxn>
                </a:cxnLst>
                <a:rect l="0" t="0" r="r" b="b"/>
                <a:pathLst>
                  <a:path w="21583" h="21600" extrusionOk="0">
                    <a:moveTo>
                      <a:pt x="10797" y="21600"/>
                    </a:moveTo>
                    <a:cubicBezTo>
                      <a:pt x="4908" y="21560"/>
                      <a:pt x="17" y="16912"/>
                      <a:pt x="0" y="10803"/>
                    </a:cubicBezTo>
                    <a:cubicBezTo>
                      <a:pt x="-17" y="4860"/>
                      <a:pt x="4726" y="0"/>
                      <a:pt x="10792" y="0"/>
                    </a:cubicBezTo>
                    <a:cubicBezTo>
                      <a:pt x="16783" y="0"/>
                      <a:pt x="21577" y="4785"/>
                      <a:pt x="21583" y="10791"/>
                    </a:cubicBezTo>
                    <a:cubicBezTo>
                      <a:pt x="21583" y="16723"/>
                      <a:pt x="16857" y="21537"/>
                      <a:pt x="10797" y="21600"/>
                    </a:cubicBezTo>
                    <a:close/>
                    <a:moveTo>
                      <a:pt x="13237" y="17841"/>
                    </a:moveTo>
                    <a:cubicBezTo>
                      <a:pt x="13237" y="17453"/>
                      <a:pt x="13197" y="17539"/>
                      <a:pt x="13499" y="17408"/>
                    </a:cubicBezTo>
                    <a:cubicBezTo>
                      <a:pt x="13568" y="17379"/>
                      <a:pt x="13642" y="17351"/>
                      <a:pt x="13710" y="17317"/>
                    </a:cubicBezTo>
                    <a:cubicBezTo>
                      <a:pt x="13784" y="17277"/>
                      <a:pt x="13841" y="17288"/>
                      <a:pt x="13898" y="17351"/>
                    </a:cubicBezTo>
                    <a:cubicBezTo>
                      <a:pt x="14064" y="17539"/>
                      <a:pt x="14258" y="17710"/>
                      <a:pt x="14343" y="17955"/>
                    </a:cubicBezTo>
                    <a:cubicBezTo>
                      <a:pt x="14372" y="18035"/>
                      <a:pt x="14412" y="18052"/>
                      <a:pt x="14491" y="18012"/>
                    </a:cubicBezTo>
                    <a:cubicBezTo>
                      <a:pt x="14731" y="17887"/>
                      <a:pt x="14964" y="17750"/>
                      <a:pt x="15193" y="17607"/>
                    </a:cubicBezTo>
                    <a:cubicBezTo>
                      <a:pt x="15278" y="17556"/>
                      <a:pt x="15267" y="17510"/>
                      <a:pt x="15215" y="17453"/>
                    </a:cubicBezTo>
                    <a:cubicBezTo>
                      <a:pt x="15039" y="17254"/>
                      <a:pt x="14987" y="16997"/>
                      <a:pt x="14907" y="16752"/>
                    </a:cubicBezTo>
                    <a:cubicBezTo>
                      <a:pt x="14885" y="16689"/>
                      <a:pt x="14896" y="16643"/>
                      <a:pt x="14953" y="16604"/>
                    </a:cubicBezTo>
                    <a:cubicBezTo>
                      <a:pt x="15073" y="16512"/>
                      <a:pt x="15198" y="16421"/>
                      <a:pt x="15312" y="16324"/>
                    </a:cubicBezTo>
                    <a:cubicBezTo>
                      <a:pt x="15369" y="16278"/>
                      <a:pt x="15421" y="16284"/>
                      <a:pt x="15478" y="16324"/>
                    </a:cubicBezTo>
                    <a:cubicBezTo>
                      <a:pt x="15683" y="16461"/>
                      <a:pt x="15911" y="16569"/>
                      <a:pt x="16053" y="16780"/>
                    </a:cubicBezTo>
                    <a:cubicBezTo>
                      <a:pt x="16105" y="16860"/>
                      <a:pt x="16167" y="16866"/>
                      <a:pt x="16241" y="16797"/>
                    </a:cubicBezTo>
                    <a:cubicBezTo>
                      <a:pt x="16430" y="16621"/>
                      <a:pt x="16612" y="16438"/>
                      <a:pt x="16783" y="16256"/>
                    </a:cubicBezTo>
                    <a:cubicBezTo>
                      <a:pt x="16851" y="16187"/>
                      <a:pt x="16857" y="16124"/>
                      <a:pt x="16772" y="16067"/>
                    </a:cubicBezTo>
                    <a:cubicBezTo>
                      <a:pt x="16555" y="15919"/>
                      <a:pt x="16447" y="15685"/>
                      <a:pt x="16304" y="15480"/>
                    </a:cubicBezTo>
                    <a:cubicBezTo>
                      <a:pt x="16264" y="15423"/>
                      <a:pt x="16264" y="15377"/>
                      <a:pt x="16310" y="15326"/>
                    </a:cubicBezTo>
                    <a:cubicBezTo>
                      <a:pt x="16407" y="15206"/>
                      <a:pt x="16498" y="15086"/>
                      <a:pt x="16589" y="14967"/>
                    </a:cubicBezTo>
                    <a:cubicBezTo>
                      <a:pt x="16635" y="14904"/>
                      <a:pt x="16686" y="14904"/>
                      <a:pt x="16749" y="14921"/>
                    </a:cubicBezTo>
                    <a:cubicBezTo>
                      <a:pt x="16994" y="15001"/>
                      <a:pt x="17245" y="15058"/>
                      <a:pt x="17450" y="15229"/>
                    </a:cubicBezTo>
                    <a:cubicBezTo>
                      <a:pt x="17507" y="15280"/>
                      <a:pt x="17547" y="15280"/>
                      <a:pt x="17593" y="15206"/>
                    </a:cubicBezTo>
                    <a:cubicBezTo>
                      <a:pt x="17735" y="14972"/>
                      <a:pt x="17872" y="14744"/>
                      <a:pt x="17997" y="14505"/>
                    </a:cubicBezTo>
                    <a:cubicBezTo>
                      <a:pt x="18037" y="14425"/>
                      <a:pt x="18020" y="14379"/>
                      <a:pt x="17940" y="14351"/>
                    </a:cubicBezTo>
                    <a:cubicBezTo>
                      <a:pt x="17741" y="14276"/>
                      <a:pt x="17587" y="14134"/>
                      <a:pt x="17433" y="13991"/>
                    </a:cubicBezTo>
                    <a:cubicBezTo>
                      <a:pt x="17239" y="13803"/>
                      <a:pt x="17245" y="13854"/>
                      <a:pt x="17359" y="13598"/>
                    </a:cubicBezTo>
                    <a:cubicBezTo>
                      <a:pt x="17393" y="13518"/>
                      <a:pt x="17427" y="13438"/>
                      <a:pt x="17456" y="13358"/>
                    </a:cubicBezTo>
                    <a:cubicBezTo>
                      <a:pt x="17484" y="13267"/>
                      <a:pt x="17541" y="13238"/>
                      <a:pt x="17638" y="13238"/>
                    </a:cubicBezTo>
                    <a:cubicBezTo>
                      <a:pt x="17883" y="13244"/>
                      <a:pt x="18123" y="13238"/>
                      <a:pt x="18351" y="13347"/>
                    </a:cubicBezTo>
                    <a:cubicBezTo>
                      <a:pt x="18431" y="13381"/>
                      <a:pt x="18476" y="13375"/>
                      <a:pt x="18510" y="13278"/>
                    </a:cubicBezTo>
                    <a:cubicBezTo>
                      <a:pt x="18584" y="13027"/>
                      <a:pt x="18653" y="12776"/>
                      <a:pt x="18710" y="12520"/>
                    </a:cubicBezTo>
                    <a:cubicBezTo>
                      <a:pt x="18733" y="12417"/>
                      <a:pt x="18704" y="12377"/>
                      <a:pt x="18607" y="12371"/>
                    </a:cubicBezTo>
                    <a:cubicBezTo>
                      <a:pt x="18351" y="12349"/>
                      <a:pt x="18134" y="12206"/>
                      <a:pt x="17912" y="12092"/>
                    </a:cubicBezTo>
                    <a:cubicBezTo>
                      <a:pt x="17860" y="12069"/>
                      <a:pt x="17826" y="12035"/>
                      <a:pt x="17838" y="11972"/>
                    </a:cubicBezTo>
                    <a:cubicBezTo>
                      <a:pt x="17860" y="11824"/>
                      <a:pt x="17883" y="11670"/>
                      <a:pt x="17900" y="11522"/>
                    </a:cubicBezTo>
                    <a:cubicBezTo>
                      <a:pt x="17912" y="11436"/>
                      <a:pt x="17957" y="11402"/>
                      <a:pt x="18037" y="11385"/>
                    </a:cubicBezTo>
                    <a:cubicBezTo>
                      <a:pt x="18271" y="11339"/>
                      <a:pt x="18493" y="11259"/>
                      <a:pt x="18738" y="11305"/>
                    </a:cubicBezTo>
                    <a:cubicBezTo>
                      <a:pt x="18835" y="11322"/>
                      <a:pt x="18881" y="11282"/>
                      <a:pt x="18887" y="11174"/>
                    </a:cubicBezTo>
                    <a:cubicBezTo>
                      <a:pt x="18898" y="10928"/>
                      <a:pt x="18904" y="10683"/>
                      <a:pt x="18887" y="10432"/>
                    </a:cubicBezTo>
                    <a:cubicBezTo>
                      <a:pt x="18881" y="10318"/>
                      <a:pt x="18835" y="10278"/>
                      <a:pt x="18727" y="10295"/>
                    </a:cubicBezTo>
                    <a:cubicBezTo>
                      <a:pt x="18562" y="10324"/>
                      <a:pt x="18396" y="10301"/>
                      <a:pt x="18237" y="10261"/>
                    </a:cubicBezTo>
                    <a:cubicBezTo>
                      <a:pt x="17889" y="10170"/>
                      <a:pt x="17912" y="10261"/>
                      <a:pt x="17878" y="9862"/>
                    </a:cubicBezTo>
                    <a:cubicBezTo>
                      <a:pt x="17872" y="9793"/>
                      <a:pt x="17860" y="9731"/>
                      <a:pt x="17843" y="9668"/>
                    </a:cubicBezTo>
                    <a:cubicBezTo>
                      <a:pt x="17821" y="9582"/>
                      <a:pt x="17860" y="9537"/>
                      <a:pt x="17929" y="9497"/>
                    </a:cubicBezTo>
                    <a:cubicBezTo>
                      <a:pt x="18151" y="9388"/>
                      <a:pt x="18362" y="9251"/>
                      <a:pt x="18613" y="9229"/>
                    </a:cubicBezTo>
                    <a:cubicBezTo>
                      <a:pt x="18698" y="9223"/>
                      <a:pt x="18738" y="9183"/>
                      <a:pt x="18710" y="9086"/>
                    </a:cubicBezTo>
                    <a:cubicBezTo>
                      <a:pt x="18647" y="8835"/>
                      <a:pt x="18584" y="8578"/>
                      <a:pt x="18505" y="8327"/>
                    </a:cubicBezTo>
                    <a:cubicBezTo>
                      <a:pt x="18470" y="8225"/>
                      <a:pt x="18425" y="8213"/>
                      <a:pt x="18339" y="8253"/>
                    </a:cubicBezTo>
                    <a:cubicBezTo>
                      <a:pt x="18106" y="8362"/>
                      <a:pt x="17860" y="8356"/>
                      <a:pt x="17615" y="8362"/>
                    </a:cubicBezTo>
                    <a:cubicBezTo>
                      <a:pt x="17541" y="8362"/>
                      <a:pt x="17490" y="8339"/>
                      <a:pt x="17461" y="8265"/>
                    </a:cubicBezTo>
                    <a:cubicBezTo>
                      <a:pt x="17410" y="8134"/>
                      <a:pt x="17359" y="8008"/>
                      <a:pt x="17302" y="7883"/>
                    </a:cubicBezTo>
                    <a:cubicBezTo>
                      <a:pt x="17268" y="7803"/>
                      <a:pt x="17285" y="7751"/>
                      <a:pt x="17347" y="7694"/>
                    </a:cubicBezTo>
                    <a:cubicBezTo>
                      <a:pt x="17530" y="7529"/>
                      <a:pt x="17701" y="7346"/>
                      <a:pt x="17935" y="7255"/>
                    </a:cubicBezTo>
                    <a:cubicBezTo>
                      <a:pt x="18020" y="7221"/>
                      <a:pt x="18037" y="7181"/>
                      <a:pt x="17992" y="7095"/>
                    </a:cubicBezTo>
                    <a:cubicBezTo>
                      <a:pt x="17866" y="6862"/>
                      <a:pt x="17735" y="6628"/>
                      <a:pt x="17593" y="6405"/>
                    </a:cubicBezTo>
                    <a:cubicBezTo>
                      <a:pt x="17541" y="6325"/>
                      <a:pt x="17501" y="6325"/>
                      <a:pt x="17439" y="6377"/>
                    </a:cubicBezTo>
                    <a:cubicBezTo>
                      <a:pt x="17290" y="6497"/>
                      <a:pt x="17114" y="6571"/>
                      <a:pt x="16931" y="6622"/>
                    </a:cubicBezTo>
                    <a:cubicBezTo>
                      <a:pt x="16572" y="6719"/>
                      <a:pt x="16686" y="6753"/>
                      <a:pt x="16464" y="6468"/>
                    </a:cubicBezTo>
                    <a:cubicBezTo>
                      <a:pt x="16418" y="6405"/>
                      <a:pt x="16373" y="6348"/>
                      <a:pt x="16321" y="6291"/>
                    </a:cubicBezTo>
                    <a:cubicBezTo>
                      <a:pt x="16264" y="6228"/>
                      <a:pt x="16264" y="6171"/>
                      <a:pt x="16316" y="6103"/>
                    </a:cubicBezTo>
                    <a:cubicBezTo>
                      <a:pt x="16452" y="5898"/>
                      <a:pt x="16561" y="5675"/>
                      <a:pt x="16777" y="5527"/>
                    </a:cubicBezTo>
                    <a:cubicBezTo>
                      <a:pt x="16851" y="5476"/>
                      <a:pt x="16851" y="5419"/>
                      <a:pt x="16789" y="5350"/>
                    </a:cubicBezTo>
                    <a:cubicBezTo>
                      <a:pt x="16612" y="5162"/>
                      <a:pt x="16430" y="4979"/>
                      <a:pt x="16247" y="4803"/>
                    </a:cubicBezTo>
                    <a:cubicBezTo>
                      <a:pt x="16167" y="4728"/>
                      <a:pt x="16110" y="4734"/>
                      <a:pt x="16048" y="4820"/>
                    </a:cubicBezTo>
                    <a:cubicBezTo>
                      <a:pt x="15951" y="4957"/>
                      <a:pt x="15820" y="5059"/>
                      <a:pt x="15677" y="5145"/>
                    </a:cubicBezTo>
                    <a:cubicBezTo>
                      <a:pt x="15392" y="5322"/>
                      <a:pt x="15392" y="5322"/>
                      <a:pt x="15130" y="5122"/>
                    </a:cubicBezTo>
                    <a:cubicBezTo>
                      <a:pt x="15078" y="5082"/>
                      <a:pt x="15027" y="5036"/>
                      <a:pt x="14970" y="5002"/>
                    </a:cubicBezTo>
                    <a:cubicBezTo>
                      <a:pt x="14896" y="4957"/>
                      <a:pt x="14885" y="4900"/>
                      <a:pt x="14913" y="4820"/>
                    </a:cubicBezTo>
                    <a:cubicBezTo>
                      <a:pt x="14993" y="4580"/>
                      <a:pt x="15044" y="4329"/>
                      <a:pt x="15215" y="4135"/>
                    </a:cubicBezTo>
                    <a:cubicBezTo>
                      <a:pt x="15272" y="4072"/>
                      <a:pt x="15261" y="4027"/>
                      <a:pt x="15181" y="3981"/>
                    </a:cubicBezTo>
                    <a:cubicBezTo>
                      <a:pt x="14959" y="3844"/>
                      <a:pt x="14736" y="3707"/>
                      <a:pt x="14503" y="3588"/>
                    </a:cubicBezTo>
                    <a:cubicBezTo>
                      <a:pt x="14417" y="3542"/>
                      <a:pt x="14360" y="3542"/>
                      <a:pt x="14326" y="3639"/>
                    </a:cubicBezTo>
                    <a:cubicBezTo>
                      <a:pt x="14240" y="3879"/>
                      <a:pt x="14052" y="4044"/>
                      <a:pt x="13887" y="4232"/>
                    </a:cubicBezTo>
                    <a:cubicBezTo>
                      <a:pt x="13824" y="4301"/>
                      <a:pt x="13767" y="4306"/>
                      <a:pt x="13688" y="4272"/>
                    </a:cubicBezTo>
                    <a:cubicBezTo>
                      <a:pt x="13573" y="4215"/>
                      <a:pt x="13454" y="4169"/>
                      <a:pt x="13334" y="4124"/>
                    </a:cubicBezTo>
                    <a:cubicBezTo>
                      <a:pt x="13249" y="4095"/>
                      <a:pt x="13220" y="4038"/>
                      <a:pt x="13220" y="3953"/>
                    </a:cubicBezTo>
                    <a:cubicBezTo>
                      <a:pt x="13226" y="3707"/>
                      <a:pt x="13220" y="3468"/>
                      <a:pt x="13328" y="3240"/>
                    </a:cubicBezTo>
                    <a:cubicBezTo>
                      <a:pt x="13368" y="3154"/>
                      <a:pt x="13357" y="3103"/>
                      <a:pt x="13254" y="3074"/>
                    </a:cubicBezTo>
                    <a:cubicBezTo>
                      <a:pt x="13003" y="3000"/>
                      <a:pt x="12753" y="2932"/>
                      <a:pt x="12496" y="2869"/>
                    </a:cubicBezTo>
                    <a:cubicBezTo>
                      <a:pt x="12399" y="2846"/>
                      <a:pt x="12365" y="2880"/>
                      <a:pt x="12354" y="2966"/>
                    </a:cubicBezTo>
                    <a:cubicBezTo>
                      <a:pt x="12331" y="3223"/>
                      <a:pt x="12188" y="3439"/>
                      <a:pt x="12080" y="3662"/>
                    </a:cubicBezTo>
                    <a:cubicBezTo>
                      <a:pt x="12051" y="3725"/>
                      <a:pt x="12006" y="3753"/>
                      <a:pt x="11932" y="3742"/>
                    </a:cubicBezTo>
                    <a:cubicBezTo>
                      <a:pt x="11795" y="3719"/>
                      <a:pt x="11658" y="3702"/>
                      <a:pt x="11521" y="3690"/>
                    </a:cubicBezTo>
                    <a:cubicBezTo>
                      <a:pt x="11430" y="3679"/>
                      <a:pt x="11379" y="3639"/>
                      <a:pt x="11362" y="3542"/>
                    </a:cubicBezTo>
                    <a:cubicBezTo>
                      <a:pt x="11322" y="3314"/>
                      <a:pt x="11236" y="3091"/>
                      <a:pt x="11282" y="2852"/>
                    </a:cubicBezTo>
                    <a:cubicBezTo>
                      <a:pt x="11299" y="2749"/>
                      <a:pt x="11259" y="2698"/>
                      <a:pt x="11145" y="2692"/>
                    </a:cubicBezTo>
                    <a:cubicBezTo>
                      <a:pt x="10900" y="2681"/>
                      <a:pt x="10655" y="2681"/>
                      <a:pt x="10404" y="2692"/>
                    </a:cubicBezTo>
                    <a:cubicBezTo>
                      <a:pt x="10296" y="2698"/>
                      <a:pt x="10256" y="2743"/>
                      <a:pt x="10273" y="2840"/>
                    </a:cubicBezTo>
                    <a:cubicBezTo>
                      <a:pt x="10318" y="3086"/>
                      <a:pt x="10233" y="3308"/>
                      <a:pt x="10193" y="3542"/>
                    </a:cubicBezTo>
                    <a:cubicBezTo>
                      <a:pt x="10176" y="3633"/>
                      <a:pt x="10130" y="3673"/>
                      <a:pt x="10045" y="3685"/>
                    </a:cubicBezTo>
                    <a:cubicBezTo>
                      <a:pt x="9908" y="3702"/>
                      <a:pt x="9771" y="3713"/>
                      <a:pt x="9634" y="3736"/>
                    </a:cubicBezTo>
                    <a:cubicBezTo>
                      <a:pt x="9554" y="3753"/>
                      <a:pt x="9509" y="3725"/>
                      <a:pt x="9475" y="3650"/>
                    </a:cubicBezTo>
                    <a:cubicBezTo>
                      <a:pt x="9366" y="3428"/>
                      <a:pt x="9230" y="3223"/>
                      <a:pt x="9207" y="2966"/>
                    </a:cubicBezTo>
                    <a:cubicBezTo>
                      <a:pt x="9195" y="2869"/>
                      <a:pt x="9155" y="2840"/>
                      <a:pt x="9059" y="2863"/>
                    </a:cubicBezTo>
                    <a:cubicBezTo>
                      <a:pt x="8813" y="2920"/>
                      <a:pt x="8568" y="2983"/>
                      <a:pt x="8329" y="3057"/>
                    </a:cubicBezTo>
                    <a:cubicBezTo>
                      <a:pt x="8221" y="3091"/>
                      <a:pt x="8186" y="3131"/>
                      <a:pt x="8238" y="3240"/>
                    </a:cubicBezTo>
                    <a:cubicBezTo>
                      <a:pt x="8306" y="3405"/>
                      <a:pt x="8340" y="3576"/>
                      <a:pt x="8340" y="3753"/>
                    </a:cubicBezTo>
                    <a:cubicBezTo>
                      <a:pt x="8340" y="4067"/>
                      <a:pt x="8346" y="4067"/>
                      <a:pt x="8050" y="4187"/>
                    </a:cubicBezTo>
                    <a:cubicBezTo>
                      <a:pt x="7987" y="4209"/>
                      <a:pt x="7924" y="4238"/>
                      <a:pt x="7867" y="4266"/>
                    </a:cubicBezTo>
                    <a:cubicBezTo>
                      <a:pt x="7793" y="4306"/>
                      <a:pt x="7736" y="4295"/>
                      <a:pt x="7679" y="4232"/>
                    </a:cubicBezTo>
                    <a:cubicBezTo>
                      <a:pt x="7508" y="4044"/>
                      <a:pt x="7320" y="3873"/>
                      <a:pt x="7234" y="3628"/>
                    </a:cubicBezTo>
                    <a:cubicBezTo>
                      <a:pt x="7206" y="3548"/>
                      <a:pt x="7166" y="3531"/>
                      <a:pt x="7086" y="3571"/>
                    </a:cubicBezTo>
                    <a:cubicBezTo>
                      <a:pt x="6847" y="3696"/>
                      <a:pt x="6613" y="3833"/>
                      <a:pt x="6385" y="3975"/>
                    </a:cubicBezTo>
                    <a:cubicBezTo>
                      <a:pt x="6316" y="4015"/>
                      <a:pt x="6299" y="4055"/>
                      <a:pt x="6351" y="4118"/>
                    </a:cubicBezTo>
                    <a:cubicBezTo>
                      <a:pt x="6527" y="4318"/>
                      <a:pt x="6584" y="4569"/>
                      <a:pt x="6659" y="4814"/>
                    </a:cubicBezTo>
                    <a:cubicBezTo>
                      <a:pt x="6681" y="4888"/>
                      <a:pt x="6676" y="4939"/>
                      <a:pt x="6607" y="4985"/>
                    </a:cubicBezTo>
                    <a:cubicBezTo>
                      <a:pt x="6493" y="5065"/>
                      <a:pt x="6379" y="5156"/>
                      <a:pt x="6271" y="5247"/>
                    </a:cubicBezTo>
                    <a:cubicBezTo>
                      <a:pt x="6202" y="5304"/>
                      <a:pt x="6151" y="5293"/>
                      <a:pt x="6083" y="5247"/>
                    </a:cubicBezTo>
                    <a:cubicBezTo>
                      <a:pt x="5878" y="5111"/>
                      <a:pt x="5655" y="4996"/>
                      <a:pt x="5507" y="4785"/>
                    </a:cubicBezTo>
                    <a:cubicBezTo>
                      <a:pt x="5461" y="4717"/>
                      <a:pt x="5404" y="4711"/>
                      <a:pt x="5342" y="4768"/>
                    </a:cubicBezTo>
                    <a:cubicBezTo>
                      <a:pt x="5148" y="4945"/>
                      <a:pt x="4960" y="5139"/>
                      <a:pt x="4777" y="5333"/>
                    </a:cubicBezTo>
                    <a:cubicBezTo>
                      <a:pt x="4720" y="5396"/>
                      <a:pt x="4715" y="5453"/>
                      <a:pt x="4789" y="5498"/>
                    </a:cubicBezTo>
                    <a:cubicBezTo>
                      <a:pt x="5005" y="5647"/>
                      <a:pt x="5114" y="5875"/>
                      <a:pt x="5256" y="6080"/>
                    </a:cubicBezTo>
                    <a:cubicBezTo>
                      <a:pt x="5302" y="6143"/>
                      <a:pt x="5302" y="6200"/>
                      <a:pt x="5250" y="6257"/>
                    </a:cubicBezTo>
                    <a:cubicBezTo>
                      <a:pt x="5159" y="6371"/>
                      <a:pt x="5068" y="6491"/>
                      <a:pt x="4983" y="6605"/>
                    </a:cubicBezTo>
                    <a:cubicBezTo>
                      <a:pt x="4943" y="6656"/>
                      <a:pt x="4903" y="6673"/>
                      <a:pt x="4834" y="6651"/>
                    </a:cubicBezTo>
                    <a:cubicBezTo>
                      <a:pt x="4583" y="6571"/>
                      <a:pt x="4327" y="6514"/>
                      <a:pt x="4122" y="6337"/>
                    </a:cubicBezTo>
                    <a:cubicBezTo>
                      <a:pt x="4065" y="6286"/>
                      <a:pt x="4019" y="6286"/>
                      <a:pt x="3979" y="6360"/>
                    </a:cubicBezTo>
                    <a:cubicBezTo>
                      <a:pt x="3837" y="6594"/>
                      <a:pt x="3694" y="6822"/>
                      <a:pt x="3574" y="7061"/>
                    </a:cubicBezTo>
                    <a:cubicBezTo>
                      <a:pt x="3535" y="7141"/>
                      <a:pt x="3546" y="7187"/>
                      <a:pt x="3626" y="7215"/>
                    </a:cubicBezTo>
                    <a:cubicBezTo>
                      <a:pt x="3825" y="7289"/>
                      <a:pt x="3985" y="7432"/>
                      <a:pt x="4133" y="7575"/>
                    </a:cubicBezTo>
                    <a:cubicBezTo>
                      <a:pt x="4333" y="7763"/>
                      <a:pt x="4321" y="7717"/>
                      <a:pt x="4207" y="7968"/>
                    </a:cubicBezTo>
                    <a:cubicBezTo>
                      <a:pt x="4173" y="8048"/>
                      <a:pt x="4139" y="8128"/>
                      <a:pt x="4110" y="8208"/>
                    </a:cubicBezTo>
                    <a:cubicBezTo>
                      <a:pt x="4082" y="8299"/>
                      <a:pt x="4025" y="8327"/>
                      <a:pt x="3928" y="8327"/>
                    </a:cubicBezTo>
                    <a:cubicBezTo>
                      <a:pt x="3683" y="8322"/>
                      <a:pt x="3443" y="8327"/>
                      <a:pt x="3215" y="8219"/>
                    </a:cubicBezTo>
                    <a:cubicBezTo>
                      <a:pt x="3124" y="8173"/>
                      <a:pt x="3084" y="8208"/>
                      <a:pt x="3056" y="8305"/>
                    </a:cubicBezTo>
                    <a:cubicBezTo>
                      <a:pt x="2982" y="8550"/>
                      <a:pt x="2919" y="8801"/>
                      <a:pt x="2856" y="9046"/>
                    </a:cubicBezTo>
                    <a:cubicBezTo>
                      <a:pt x="2833" y="9149"/>
                      <a:pt x="2862" y="9189"/>
                      <a:pt x="2959" y="9194"/>
                    </a:cubicBezTo>
                    <a:cubicBezTo>
                      <a:pt x="3215" y="9217"/>
                      <a:pt x="3432" y="9360"/>
                      <a:pt x="3654" y="9474"/>
                    </a:cubicBezTo>
                    <a:cubicBezTo>
                      <a:pt x="3711" y="9502"/>
                      <a:pt x="3740" y="9542"/>
                      <a:pt x="3728" y="9611"/>
                    </a:cubicBezTo>
                    <a:cubicBezTo>
                      <a:pt x="3706" y="9748"/>
                      <a:pt x="3688" y="9885"/>
                      <a:pt x="3677" y="10021"/>
                    </a:cubicBezTo>
                    <a:cubicBezTo>
                      <a:pt x="3666" y="10118"/>
                      <a:pt x="3626" y="10170"/>
                      <a:pt x="3523" y="10193"/>
                    </a:cubicBezTo>
                    <a:cubicBezTo>
                      <a:pt x="3295" y="10232"/>
                      <a:pt x="3073" y="10312"/>
                      <a:pt x="2833" y="10272"/>
                    </a:cubicBezTo>
                    <a:cubicBezTo>
                      <a:pt x="2719" y="10250"/>
                      <a:pt x="2685" y="10307"/>
                      <a:pt x="2679" y="10415"/>
                    </a:cubicBezTo>
                    <a:cubicBezTo>
                      <a:pt x="2668" y="10655"/>
                      <a:pt x="2668" y="10888"/>
                      <a:pt x="2679" y="11128"/>
                    </a:cubicBezTo>
                    <a:cubicBezTo>
                      <a:pt x="2685" y="11253"/>
                      <a:pt x="2731" y="11305"/>
                      <a:pt x="2850" y="11282"/>
                    </a:cubicBezTo>
                    <a:cubicBezTo>
                      <a:pt x="3096" y="11236"/>
                      <a:pt x="3318" y="11328"/>
                      <a:pt x="3552" y="11368"/>
                    </a:cubicBezTo>
                    <a:cubicBezTo>
                      <a:pt x="3620" y="11379"/>
                      <a:pt x="3660" y="11419"/>
                      <a:pt x="3666" y="11493"/>
                    </a:cubicBezTo>
                    <a:cubicBezTo>
                      <a:pt x="3683" y="11636"/>
                      <a:pt x="3694" y="11778"/>
                      <a:pt x="3723" y="11915"/>
                    </a:cubicBezTo>
                    <a:cubicBezTo>
                      <a:pt x="3740" y="12001"/>
                      <a:pt x="3711" y="12046"/>
                      <a:pt x="3637" y="12086"/>
                    </a:cubicBezTo>
                    <a:cubicBezTo>
                      <a:pt x="3415" y="12200"/>
                      <a:pt x="3198" y="12331"/>
                      <a:pt x="2936" y="12354"/>
                    </a:cubicBezTo>
                    <a:cubicBezTo>
                      <a:pt x="2850" y="12360"/>
                      <a:pt x="2828" y="12406"/>
                      <a:pt x="2850" y="12491"/>
                    </a:cubicBezTo>
                    <a:cubicBezTo>
                      <a:pt x="2913" y="12748"/>
                      <a:pt x="2976" y="12999"/>
                      <a:pt x="3056" y="13250"/>
                    </a:cubicBezTo>
                    <a:cubicBezTo>
                      <a:pt x="3084" y="13352"/>
                      <a:pt x="3130" y="13370"/>
                      <a:pt x="3221" y="13330"/>
                    </a:cubicBezTo>
                    <a:cubicBezTo>
                      <a:pt x="3409" y="13244"/>
                      <a:pt x="3614" y="13221"/>
                      <a:pt x="3820" y="13221"/>
                    </a:cubicBezTo>
                    <a:cubicBezTo>
                      <a:pt x="4105" y="13221"/>
                      <a:pt x="4048" y="13193"/>
                      <a:pt x="4150" y="13449"/>
                    </a:cubicBezTo>
                    <a:cubicBezTo>
                      <a:pt x="4179" y="13524"/>
                      <a:pt x="4207" y="13603"/>
                      <a:pt x="4247" y="13672"/>
                    </a:cubicBezTo>
                    <a:cubicBezTo>
                      <a:pt x="4298" y="13769"/>
                      <a:pt x="4276" y="13837"/>
                      <a:pt x="4196" y="13906"/>
                    </a:cubicBezTo>
                    <a:cubicBezTo>
                      <a:pt x="4013" y="14065"/>
                      <a:pt x="3848" y="14242"/>
                      <a:pt x="3614" y="14333"/>
                    </a:cubicBezTo>
                    <a:cubicBezTo>
                      <a:pt x="3529" y="14362"/>
                      <a:pt x="3529" y="14413"/>
                      <a:pt x="3563" y="14487"/>
                    </a:cubicBezTo>
                    <a:cubicBezTo>
                      <a:pt x="3688" y="14727"/>
                      <a:pt x="3825" y="14961"/>
                      <a:pt x="3968" y="15189"/>
                    </a:cubicBezTo>
                    <a:cubicBezTo>
                      <a:pt x="4008" y="15252"/>
                      <a:pt x="4042" y="15263"/>
                      <a:pt x="4099" y="15218"/>
                    </a:cubicBezTo>
                    <a:cubicBezTo>
                      <a:pt x="4298" y="15046"/>
                      <a:pt x="4555" y="14989"/>
                      <a:pt x="4794" y="14910"/>
                    </a:cubicBezTo>
                    <a:cubicBezTo>
                      <a:pt x="4874" y="14881"/>
                      <a:pt x="4926" y="14892"/>
                      <a:pt x="4977" y="14967"/>
                    </a:cubicBezTo>
                    <a:cubicBezTo>
                      <a:pt x="5057" y="15086"/>
                      <a:pt x="5148" y="15195"/>
                      <a:pt x="5239" y="15303"/>
                    </a:cubicBezTo>
                    <a:cubicBezTo>
                      <a:pt x="5285" y="15360"/>
                      <a:pt x="5290" y="15406"/>
                      <a:pt x="5250" y="15469"/>
                    </a:cubicBezTo>
                    <a:cubicBezTo>
                      <a:pt x="5108" y="15674"/>
                      <a:pt x="5000" y="15908"/>
                      <a:pt x="4783" y="16056"/>
                    </a:cubicBezTo>
                    <a:cubicBezTo>
                      <a:pt x="4709" y="16107"/>
                      <a:pt x="4703" y="16159"/>
                      <a:pt x="4772" y="16233"/>
                    </a:cubicBezTo>
                    <a:cubicBezTo>
                      <a:pt x="4948" y="16427"/>
                      <a:pt x="5131" y="16609"/>
                      <a:pt x="5325" y="16786"/>
                    </a:cubicBezTo>
                    <a:cubicBezTo>
                      <a:pt x="5393" y="16849"/>
                      <a:pt x="5450" y="16849"/>
                      <a:pt x="5501" y="16775"/>
                    </a:cubicBezTo>
                    <a:cubicBezTo>
                      <a:pt x="5644" y="16564"/>
                      <a:pt x="5872" y="16455"/>
                      <a:pt x="6077" y="16313"/>
                    </a:cubicBezTo>
                    <a:cubicBezTo>
                      <a:pt x="6145" y="16267"/>
                      <a:pt x="6202" y="16267"/>
                      <a:pt x="6265" y="16318"/>
                    </a:cubicBezTo>
                    <a:cubicBezTo>
                      <a:pt x="6374" y="16404"/>
                      <a:pt x="6482" y="16489"/>
                      <a:pt x="6590" y="16569"/>
                    </a:cubicBezTo>
                    <a:cubicBezTo>
                      <a:pt x="6659" y="16621"/>
                      <a:pt x="6676" y="16672"/>
                      <a:pt x="6647" y="16752"/>
                    </a:cubicBezTo>
                    <a:cubicBezTo>
                      <a:pt x="6573" y="16991"/>
                      <a:pt x="6510" y="17237"/>
                      <a:pt x="6345" y="17436"/>
                    </a:cubicBezTo>
                    <a:cubicBezTo>
                      <a:pt x="6288" y="17499"/>
                      <a:pt x="6294" y="17545"/>
                      <a:pt x="6374" y="17590"/>
                    </a:cubicBezTo>
                    <a:cubicBezTo>
                      <a:pt x="6602" y="17727"/>
                      <a:pt x="6830" y="17864"/>
                      <a:pt x="7063" y="17990"/>
                    </a:cubicBezTo>
                    <a:cubicBezTo>
                      <a:pt x="7149" y="18035"/>
                      <a:pt x="7194" y="18018"/>
                      <a:pt x="7223" y="17933"/>
                    </a:cubicBezTo>
                    <a:cubicBezTo>
                      <a:pt x="7314" y="17693"/>
                      <a:pt x="7497" y="17528"/>
                      <a:pt x="7662" y="17339"/>
                    </a:cubicBezTo>
                    <a:cubicBezTo>
                      <a:pt x="7725" y="17271"/>
                      <a:pt x="7782" y="17265"/>
                      <a:pt x="7861" y="17299"/>
                    </a:cubicBezTo>
                    <a:cubicBezTo>
                      <a:pt x="7975" y="17356"/>
                      <a:pt x="8095" y="17402"/>
                      <a:pt x="8215" y="17448"/>
                    </a:cubicBezTo>
                    <a:cubicBezTo>
                      <a:pt x="8300" y="17476"/>
                      <a:pt x="8329" y="17528"/>
                      <a:pt x="8329" y="17619"/>
                    </a:cubicBezTo>
                    <a:cubicBezTo>
                      <a:pt x="8323" y="17864"/>
                      <a:pt x="8329" y="18104"/>
                      <a:pt x="8221" y="18332"/>
                    </a:cubicBezTo>
                    <a:cubicBezTo>
                      <a:pt x="8175" y="18429"/>
                      <a:pt x="8209" y="18474"/>
                      <a:pt x="8312" y="18503"/>
                    </a:cubicBezTo>
                    <a:cubicBezTo>
                      <a:pt x="8551" y="18577"/>
                      <a:pt x="8796" y="18640"/>
                      <a:pt x="9041" y="18697"/>
                    </a:cubicBezTo>
                    <a:cubicBezTo>
                      <a:pt x="9138" y="18720"/>
                      <a:pt x="9190" y="18708"/>
                      <a:pt x="9195" y="18600"/>
                    </a:cubicBezTo>
                    <a:cubicBezTo>
                      <a:pt x="9218" y="18343"/>
                      <a:pt x="9355" y="18126"/>
                      <a:pt x="9469" y="17904"/>
                    </a:cubicBezTo>
                    <a:cubicBezTo>
                      <a:pt x="9497" y="17847"/>
                      <a:pt x="9532" y="17813"/>
                      <a:pt x="9600" y="17824"/>
                    </a:cubicBezTo>
                    <a:cubicBezTo>
                      <a:pt x="9743" y="17847"/>
                      <a:pt x="9891" y="17864"/>
                      <a:pt x="10039" y="17881"/>
                    </a:cubicBezTo>
                    <a:cubicBezTo>
                      <a:pt x="10130" y="17893"/>
                      <a:pt x="10170" y="17938"/>
                      <a:pt x="10187" y="18024"/>
                    </a:cubicBezTo>
                    <a:cubicBezTo>
                      <a:pt x="10227" y="18252"/>
                      <a:pt x="10313" y="18474"/>
                      <a:pt x="10267" y="18714"/>
                    </a:cubicBezTo>
                    <a:cubicBezTo>
                      <a:pt x="10244" y="18834"/>
                      <a:pt x="10301" y="18868"/>
                      <a:pt x="10415" y="18874"/>
                    </a:cubicBezTo>
                    <a:cubicBezTo>
                      <a:pt x="10655" y="18885"/>
                      <a:pt x="10888" y="18885"/>
                      <a:pt x="11128" y="18874"/>
                    </a:cubicBezTo>
                    <a:cubicBezTo>
                      <a:pt x="11248" y="18868"/>
                      <a:pt x="11293" y="18822"/>
                      <a:pt x="11276" y="18708"/>
                    </a:cubicBezTo>
                    <a:cubicBezTo>
                      <a:pt x="11231" y="18463"/>
                      <a:pt x="11316" y="18241"/>
                      <a:pt x="11362" y="18007"/>
                    </a:cubicBezTo>
                    <a:cubicBezTo>
                      <a:pt x="11373" y="17927"/>
                      <a:pt x="11419" y="17893"/>
                      <a:pt x="11493" y="17881"/>
                    </a:cubicBezTo>
                    <a:cubicBezTo>
                      <a:pt x="11635" y="17864"/>
                      <a:pt x="11778" y="17853"/>
                      <a:pt x="11915" y="17824"/>
                    </a:cubicBezTo>
                    <a:cubicBezTo>
                      <a:pt x="11994" y="17813"/>
                      <a:pt x="12040" y="17836"/>
                      <a:pt x="12074" y="17904"/>
                    </a:cubicBezTo>
                    <a:cubicBezTo>
                      <a:pt x="12183" y="18126"/>
                      <a:pt x="12319" y="18332"/>
                      <a:pt x="12342" y="18588"/>
                    </a:cubicBezTo>
                    <a:cubicBezTo>
                      <a:pt x="12354" y="18685"/>
                      <a:pt x="12393" y="18714"/>
                      <a:pt x="12490" y="18691"/>
                    </a:cubicBezTo>
                    <a:cubicBezTo>
                      <a:pt x="12736" y="18634"/>
                      <a:pt x="12981" y="18571"/>
                      <a:pt x="13220" y="18497"/>
                    </a:cubicBezTo>
                    <a:cubicBezTo>
                      <a:pt x="13328" y="18463"/>
                      <a:pt x="13363" y="18423"/>
                      <a:pt x="13311" y="18315"/>
                    </a:cubicBezTo>
                    <a:cubicBezTo>
                      <a:pt x="13260" y="18172"/>
                      <a:pt x="13220" y="17990"/>
                      <a:pt x="13237" y="17841"/>
                    </a:cubicBezTo>
                    <a:close/>
                  </a:path>
                </a:pathLst>
              </a:custGeom>
              <a:solidFill>
                <a:srgbClr val="FFFFFF"/>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latin typeface="Verdana"/>
                    <a:ea typeface="Verdana"/>
                    <a:cs typeface="Verdana"/>
                    <a:sym typeface="Verdana"/>
                  </a:defRPr>
                </a:pPr>
                <a:endParaRPr kumimoji="0" sz="1300" b="0" i="0" u="none" strike="noStrike" kern="1200" cap="none" spc="0" normalizeH="0" baseline="0" noProof="0">
                  <a:ln>
                    <a:noFill/>
                  </a:ln>
                  <a:solidFill>
                    <a:srgbClr val="000000"/>
                  </a:solidFill>
                  <a:effectLst/>
                  <a:uLnTx/>
                  <a:uFillTx/>
                  <a:latin typeface="Verdana"/>
                  <a:ea typeface="Verdana"/>
                  <a:cs typeface="Verdana"/>
                  <a:sym typeface="Verdana"/>
                </a:endParaRPr>
              </a:p>
            </p:txBody>
          </p:sp>
          <p:sp>
            <p:nvSpPr>
              <p:cNvPr id="63" name="Freeform: Shape 44">
                <a:extLst>
                  <a:ext uri="{FF2B5EF4-FFF2-40B4-BE49-F238E27FC236}">
                    <a16:creationId xmlns:a16="http://schemas.microsoft.com/office/drawing/2014/main" id="{3861A11B-6C1F-4D0A-A5E6-A12B5FA186CC}"/>
                  </a:ext>
                </a:extLst>
              </p:cNvPr>
              <p:cNvSpPr/>
              <p:nvPr/>
            </p:nvSpPr>
            <p:spPr>
              <a:xfrm rot="9737426" flipH="1">
                <a:off x="388583" y="389502"/>
                <a:ext cx="351448" cy="349614"/>
              </a:xfrm>
              <a:custGeom>
                <a:avLst/>
                <a:gdLst/>
                <a:ahLst/>
                <a:cxnLst>
                  <a:cxn ang="0">
                    <a:pos x="wd2" y="hd2"/>
                  </a:cxn>
                  <a:cxn ang="5400000">
                    <a:pos x="wd2" y="hd2"/>
                  </a:cxn>
                  <a:cxn ang="10800000">
                    <a:pos x="wd2" y="hd2"/>
                  </a:cxn>
                  <a:cxn ang="16200000">
                    <a:pos x="wd2" y="hd2"/>
                  </a:cxn>
                </a:cxnLst>
                <a:rect l="0" t="0" r="r" b="b"/>
                <a:pathLst>
                  <a:path w="21600" h="21600" extrusionOk="0">
                    <a:moveTo>
                      <a:pt x="16844" y="11917"/>
                    </a:moveTo>
                    <a:lnTo>
                      <a:pt x="21600" y="11917"/>
                    </a:lnTo>
                    <a:lnTo>
                      <a:pt x="21275" y="14079"/>
                    </a:lnTo>
                    <a:cubicBezTo>
                      <a:pt x="20313" y="17186"/>
                      <a:pt x="18022" y="19704"/>
                      <a:pt x="15069" y="20959"/>
                    </a:cubicBezTo>
                    <a:lnTo>
                      <a:pt x="11911" y="21600"/>
                    </a:lnTo>
                    <a:lnTo>
                      <a:pt x="11911" y="16991"/>
                    </a:lnTo>
                    <a:lnTo>
                      <a:pt x="13285" y="16712"/>
                    </a:lnTo>
                    <a:cubicBezTo>
                      <a:pt x="14430" y="16225"/>
                      <a:pt x="15405" y="15411"/>
                      <a:pt x="16093" y="14387"/>
                    </a:cubicBezTo>
                    <a:close/>
                    <a:moveTo>
                      <a:pt x="0" y="11917"/>
                    </a:moveTo>
                    <a:lnTo>
                      <a:pt x="4756" y="11917"/>
                    </a:lnTo>
                    <a:lnTo>
                      <a:pt x="5507" y="14387"/>
                    </a:lnTo>
                    <a:cubicBezTo>
                      <a:pt x="6195" y="15411"/>
                      <a:pt x="7170" y="16225"/>
                      <a:pt x="8315" y="16712"/>
                    </a:cubicBezTo>
                    <a:lnTo>
                      <a:pt x="9689" y="16991"/>
                    </a:lnTo>
                    <a:lnTo>
                      <a:pt x="9689" y="21600"/>
                    </a:lnTo>
                    <a:lnTo>
                      <a:pt x="6531" y="20959"/>
                    </a:lnTo>
                    <a:cubicBezTo>
                      <a:pt x="3578" y="19704"/>
                      <a:pt x="1287" y="17186"/>
                      <a:pt x="325" y="14079"/>
                    </a:cubicBezTo>
                    <a:close/>
                    <a:moveTo>
                      <a:pt x="11911" y="0"/>
                    </a:moveTo>
                    <a:lnTo>
                      <a:pt x="15069" y="641"/>
                    </a:lnTo>
                    <a:cubicBezTo>
                      <a:pt x="18022" y="1896"/>
                      <a:pt x="20313" y="4414"/>
                      <a:pt x="21275" y="7521"/>
                    </a:cubicBezTo>
                    <a:lnTo>
                      <a:pt x="21600" y="9683"/>
                    </a:lnTo>
                    <a:lnTo>
                      <a:pt x="16844" y="9683"/>
                    </a:lnTo>
                    <a:lnTo>
                      <a:pt x="16093" y="7213"/>
                    </a:lnTo>
                    <a:cubicBezTo>
                      <a:pt x="15405" y="6189"/>
                      <a:pt x="14430" y="5375"/>
                      <a:pt x="13285" y="4888"/>
                    </a:cubicBezTo>
                    <a:lnTo>
                      <a:pt x="11911" y="4609"/>
                    </a:lnTo>
                    <a:close/>
                    <a:moveTo>
                      <a:pt x="9689" y="0"/>
                    </a:moveTo>
                    <a:lnTo>
                      <a:pt x="9689" y="4609"/>
                    </a:lnTo>
                    <a:lnTo>
                      <a:pt x="8315" y="4888"/>
                    </a:lnTo>
                    <a:cubicBezTo>
                      <a:pt x="7170" y="5375"/>
                      <a:pt x="6195" y="6189"/>
                      <a:pt x="5507" y="7213"/>
                    </a:cubicBezTo>
                    <a:lnTo>
                      <a:pt x="4756" y="9683"/>
                    </a:lnTo>
                    <a:lnTo>
                      <a:pt x="0" y="9683"/>
                    </a:lnTo>
                    <a:lnTo>
                      <a:pt x="325" y="7521"/>
                    </a:lnTo>
                    <a:cubicBezTo>
                      <a:pt x="1287" y="4414"/>
                      <a:pt x="3578" y="1896"/>
                      <a:pt x="6531" y="641"/>
                    </a:cubicBezTo>
                    <a:close/>
                  </a:path>
                </a:pathLst>
              </a:custGeom>
              <a:solidFill>
                <a:srgbClr val="FFFFFF"/>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latin typeface="Verdana"/>
                    <a:ea typeface="Verdana"/>
                    <a:cs typeface="Verdana"/>
                    <a:sym typeface="Verdana"/>
                  </a:defRPr>
                </a:pPr>
                <a:endParaRPr kumimoji="0" sz="1300" b="0" i="0" u="none" strike="noStrike" kern="1200" cap="none" spc="0" normalizeH="0" baseline="0" noProof="0">
                  <a:ln>
                    <a:noFill/>
                  </a:ln>
                  <a:solidFill>
                    <a:srgbClr val="000000"/>
                  </a:solidFill>
                  <a:effectLst/>
                  <a:uLnTx/>
                  <a:uFillTx/>
                  <a:latin typeface="Verdana"/>
                  <a:ea typeface="Verdana"/>
                  <a:cs typeface="Verdana"/>
                  <a:sym typeface="Verdana"/>
                </a:endParaRPr>
              </a:p>
            </p:txBody>
          </p:sp>
          <p:sp>
            <p:nvSpPr>
              <p:cNvPr id="64" name="Oval 46">
                <a:extLst>
                  <a:ext uri="{FF2B5EF4-FFF2-40B4-BE49-F238E27FC236}">
                    <a16:creationId xmlns:a16="http://schemas.microsoft.com/office/drawing/2014/main" id="{0EB7F94E-8CB9-4F1E-89D5-3EF0254C832B}"/>
                  </a:ext>
                </a:extLst>
              </p:cNvPr>
              <p:cNvSpPr/>
              <p:nvPr/>
            </p:nvSpPr>
            <p:spPr>
              <a:xfrm rot="9737426" flipH="1">
                <a:off x="505817" y="505810"/>
                <a:ext cx="116983" cy="116983"/>
              </a:xfrm>
              <a:prstGeom prst="ellipse">
                <a:avLst/>
              </a:prstGeom>
              <a:solidFill>
                <a:srgbClr val="FFFFFF"/>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solidFill>
                      <a:srgbClr val="FFFFFF"/>
                    </a:solidFill>
                    <a:latin typeface="Verdana"/>
                    <a:ea typeface="Verdana"/>
                    <a:cs typeface="Verdana"/>
                    <a:sym typeface="Verdana"/>
                  </a:defRPr>
                </a:pPr>
                <a:endParaRPr kumimoji="0" sz="1300" b="0" i="0" u="none" strike="noStrike" kern="1200" cap="none" spc="0" normalizeH="0" baseline="0" noProof="0">
                  <a:ln>
                    <a:noFill/>
                  </a:ln>
                  <a:solidFill>
                    <a:srgbClr val="FFFFFF"/>
                  </a:solidFill>
                  <a:effectLst/>
                  <a:uLnTx/>
                  <a:uFillTx/>
                  <a:latin typeface="Verdana"/>
                  <a:ea typeface="Verdana"/>
                  <a:cs typeface="Verdana"/>
                  <a:sym typeface="Verdana"/>
                </a:endParaRPr>
              </a:p>
            </p:txBody>
          </p:sp>
        </p:grpSp>
        <p:grpSp>
          <p:nvGrpSpPr>
            <p:cNvPr id="41" name="Group 47">
              <a:extLst>
                <a:ext uri="{FF2B5EF4-FFF2-40B4-BE49-F238E27FC236}">
                  <a16:creationId xmlns:a16="http://schemas.microsoft.com/office/drawing/2014/main" id="{7447CDE7-5D60-4D66-9CDC-5B0FA7F1D4D7}"/>
                </a:ext>
              </a:extLst>
            </p:cNvPr>
            <p:cNvGrpSpPr/>
            <p:nvPr/>
          </p:nvGrpSpPr>
          <p:grpSpPr>
            <a:xfrm>
              <a:off x="1715836" y="758088"/>
              <a:ext cx="847643" cy="2334144"/>
              <a:chOff x="0" y="0"/>
              <a:chExt cx="847642" cy="2334143"/>
            </a:xfrm>
          </p:grpSpPr>
          <p:sp>
            <p:nvSpPr>
              <p:cNvPr id="59" name="Rectangle: Rounded Corners 47">
                <a:extLst>
                  <a:ext uri="{FF2B5EF4-FFF2-40B4-BE49-F238E27FC236}">
                    <a16:creationId xmlns:a16="http://schemas.microsoft.com/office/drawing/2014/main" id="{172E738E-AD40-46A5-ABC5-35A7E8FF71E8}"/>
                  </a:ext>
                </a:extLst>
              </p:cNvPr>
              <p:cNvSpPr/>
              <p:nvPr/>
            </p:nvSpPr>
            <p:spPr>
              <a:xfrm rot="10848157" flipH="1">
                <a:off x="42107" y="5414"/>
                <a:ext cx="789302" cy="2323316"/>
              </a:xfrm>
              <a:prstGeom prst="roundRect">
                <a:avLst>
                  <a:gd name="adj" fmla="val 0"/>
                </a:avLst>
              </a:prstGeom>
              <a:solidFill>
                <a:srgbClr val="12ABDB"/>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solidFill>
                      <a:srgbClr val="FFFFFF"/>
                    </a:solidFill>
                    <a:latin typeface="Verdana"/>
                    <a:ea typeface="Verdana"/>
                    <a:cs typeface="Verdana"/>
                    <a:sym typeface="Verdana"/>
                  </a:defRPr>
                </a:pPr>
                <a:endParaRPr kumimoji="0" sz="1300" b="0" i="0" u="none" strike="noStrike" kern="1200" cap="none" spc="0" normalizeH="0" baseline="0" noProof="0">
                  <a:ln>
                    <a:noFill/>
                  </a:ln>
                  <a:solidFill>
                    <a:srgbClr val="FFFFFF"/>
                  </a:solidFill>
                  <a:effectLst/>
                  <a:uLnTx/>
                  <a:uFillTx/>
                  <a:latin typeface="Verdana"/>
                  <a:ea typeface="Verdana"/>
                  <a:cs typeface="Verdana"/>
                  <a:sym typeface="Verdana"/>
                </a:endParaRPr>
              </a:p>
            </p:txBody>
          </p:sp>
          <p:sp>
            <p:nvSpPr>
              <p:cNvPr id="60" name="Rectangle: Rounded Corners 48">
                <a:extLst>
                  <a:ext uri="{FF2B5EF4-FFF2-40B4-BE49-F238E27FC236}">
                    <a16:creationId xmlns:a16="http://schemas.microsoft.com/office/drawing/2014/main" id="{D4DCA5B4-EBBA-4BFF-8DD1-50B4BF567F8E}"/>
                  </a:ext>
                </a:extLst>
              </p:cNvPr>
              <p:cNvSpPr/>
              <p:nvPr/>
            </p:nvSpPr>
            <p:spPr>
              <a:xfrm rot="10848157" flipH="1">
                <a:off x="16258" y="7346"/>
                <a:ext cx="289230" cy="2323316"/>
              </a:xfrm>
              <a:prstGeom prst="roundRect">
                <a:avLst>
                  <a:gd name="adj" fmla="val 0"/>
                </a:avLst>
              </a:prstGeom>
              <a:solidFill>
                <a:srgbClr val="0E80A4"/>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solidFill>
                      <a:srgbClr val="FFFFFF"/>
                    </a:solidFill>
                    <a:latin typeface="Verdana"/>
                    <a:ea typeface="Verdana"/>
                    <a:cs typeface="Verdana"/>
                    <a:sym typeface="Verdana"/>
                  </a:defRPr>
                </a:pPr>
                <a:endParaRPr kumimoji="0" sz="1300" b="0" i="0" u="none" strike="noStrike" kern="1200" cap="none" spc="0" normalizeH="0" baseline="0" noProof="0">
                  <a:ln>
                    <a:noFill/>
                  </a:ln>
                  <a:solidFill>
                    <a:srgbClr val="FFFFFF"/>
                  </a:solidFill>
                  <a:effectLst/>
                  <a:uLnTx/>
                  <a:uFillTx/>
                  <a:latin typeface="Verdana"/>
                  <a:ea typeface="Verdana"/>
                  <a:cs typeface="Verdana"/>
                  <a:sym typeface="Verdana"/>
                </a:endParaRPr>
              </a:p>
            </p:txBody>
          </p:sp>
        </p:grpSp>
        <p:sp>
          <p:nvSpPr>
            <p:cNvPr id="42" name="Oval 50">
              <a:extLst>
                <a:ext uri="{FF2B5EF4-FFF2-40B4-BE49-F238E27FC236}">
                  <a16:creationId xmlns:a16="http://schemas.microsoft.com/office/drawing/2014/main" id="{9205978B-C5F0-4C4F-A67B-FC3913710306}"/>
                </a:ext>
              </a:extLst>
            </p:cNvPr>
            <p:cNvSpPr/>
            <p:nvPr/>
          </p:nvSpPr>
          <p:spPr>
            <a:xfrm rot="10800000" flipH="1">
              <a:off x="1555585" y="2480147"/>
              <a:ext cx="1079832" cy="1079831"/>
            </a:xfrm>
            <a:prstGeom prst="ellipse">
              <a:avLst/>
            </a:prstGeom>
            <a:solidFill>
              <a:srgbClr val="12ABDB"/>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solidFill>
                    <a:srgbClr val="FFFFFF"/>
                  </a:solidFill>
                  <a:latin typeface="Verdana"/>
                  <a:ea typeface="Verdana"/>
                  <a:cs typeface="Verdana"/>
                  <a:sym typeface="Verdana"/>
                </a:defRPr>
              </a:pPr>
              <a:endParaRPr kumimoji="0" sz="1300" b="0" i="0" u="none" strike="noStrike" kern="1200" cap="none" spc="0" normalizeH="0" baseline="0" noProof="0">
                <a:ln>
                  <a:noFill/>
                </a:ln>
                <a:solidFill>
                  <a:srgbClr val="FFFFFF"/>
                </a:solidFill>
                <a:effectLst/>
                <a:uLnTx/>
                <a:uFillTx/>
                <a:latin typeface="Verdana"/>
                <a:ea typeface="Verdana"/>
                <a:cs typeface="Verdana"/>
                <a:sym typeface="Verdana"/>
              </a:endParaRPr>
            </a:p>
          </p:txBody>
        </p:sp>
        <p:sp>
          <p:nvSpPr>
            <p:cNvPr id="43" name="Freeform: Shape 50">
              <a:extLst>
                <a:ext uri="{FF2B5EF4-FFF2-40B4-BE49-F238E27FC236}">
                  <a16:creationId xmlns:a16="http://schemas.microsoft.com/office/drawing/2014/main" id="{DC7E8DBD-C4D7-4D5C-AF95-51710A99AE9F}"/>
                </a:ext>
              </a:extLst>
            </p:cNvPr>
            <p:cNvSpPr/>
            <p:nvPr/>
          </p:nvSpPr>
          <p:spPr>
            <a:xfrm rot="10800000" flipH="1">
              <a:off x="1672044" y="2595036"/>
              <a:ext cx="848262" cy="848483"/>
            </a:xfrm>
            <a:custGeom>
              <a:avLst/>
              <a:gdLst/>
              <a:ahLst/>
              <a:cxnLst>
                <a:cxn ang="0">
                  <a:pos x="wd2" y="hd2"/>
                </a:cxn>
                <a:cxn ang="5400000">
                  <a:pos x="wd2" y="hd2"/>
                </a:cxn>
                <a:cxn ang="10800000">
                  <a:pos x="wd2" y="hd2"/>
                </a:cxn>
                <a:cxn ang="16200000">
                  <a:pos x="wd2" y="hd2"/>
                </a:cxn>
              </a:cxnLst>
              <a:rect l="0" t="0" r="r" b="b"/>
              <a:pathLst>
                <a:path w="21583" h="21600" extrusionOk="0">
                  <a:moveTo>
                    <a:pt x="10797" y="21600"/>
                  </a:moveTo>
                  <a:cubicBezTo>
                    <a:pt x="4908" y="21560"/>
                    <a:pt x="17" y="16912"/>
                    <a:pt x="0" y="10803"/>
                  </a:cubicBezTo>
                  <a:cubicBezTo>
                    <a:pt x="-17" y="4860"/>
                    <a:pt x="4726" y="0"/>
                    <a:pt x="10792" y="0"/>
                  </a:cubicBezTo>
                  <a:cubicBezTo>
                    <a:pt x="16783" y="0"/>
                    <a:pt x="21577" y="4785"/>
                    <a:pt x="21583" y="10791"/>
                  </a:cubicBezTo>
                  <a:cubicBezTo>
                    <a:pt x="21583" y="16723"/>
                    <a:pt x="16857" y="21537"/>
                    <a:pt x="10797" y="21600"/>
                  </a:cubicBezTo>
                  <a:close/>
                  <a:moveTo>
                    <a:pt x="13237" y="17841"/>
                  </a:moveTo>
                  <a:cubicBezTo>
                    <a:pt x="13237" y="17453"/>
                    <a:pt x="13197" y="17539"/>
                    <a:pt x="13499" y="17408"/>
                  </a:cubicBezTo>
                  <a:cubicBezTo>
                    <a:pt x="13568" y="17379"/>
                    <a:pt x="13642" y="17351"/>
                    <a:pt x="13710" y="17317"/>
                  </a:cubicBezTo>
                  <a:cubicBezTo>
                    <a:pt x="13784" y="17277"/>
                    <a:pt x="13841" y="17288"/>
                    <a:pt x="13898" y="17351"/>
                  </a:cubicBezTo>
                  <a:cubicBezTo>
                    <a:pt x="14064" y="17539"/>
                    <a:pt x="14258" y="17710"/>
                    <a:pt x="14343" y="17955"/>
                  </a:cubicBezTo>
                  <a:cubicBezTo>
                    <a:pt x="14372" y="18035"/>
                    <a:pt x="14412" y="18052"/>
                    <a:pt x="14491" y="18012"/>
                  </a:cubicBezTo>
                  <a:cubicBezTo>
                    <a:pt x="14731" y="17887"/>
                    <a:pt x="14964" y="17750"/>
                    <a:pt x="15193" y="17607"/>
                  </a:cubicBezTo>
                  <a:cubicBezTo>
                    <a:pt x="15278" y="17556"/>
                    <a:pt x="15267" y="17510"/>
                    <a:pt x="15215" y="17453"/>
                  </a:cubicBezTo>
                  <a:cubicBezTo>
                    <a:pt x="15039" y="17254"/>
                    <a:pt x="14987" y="16997"/>
                    <a:pt x="14907" y="16752"/>
                  </a:cubicBezTo>
                  <a:cubicBezTo>
                    <a:pt x="14885" y="16689"/>
                    <a:pt x="14896" y="16643"/>
                    <a:pt x="14953" y="16604"/>
                  </a:cubicBezTo>
                  <a:cubicBezTo>
                    <a:pt x="15073" y="16512"/>
                    <a:pt x="15198" y="16421"/>
                    <a:pt x="15312" y="16324"/>
                  </a:cubicBezTo>
                  <a:cubicBezTo>
                    <a:pt x="15369" y="16278"/>
                    <a:pt x="15421" y="16284"/>
                    <a:pt x="15478" y="16324"/>
                  </a:cubicBezTo>
                  <a:cubicBezTo>
                    <a:pt x="15683" y="16461"/>
                    <a:pt x="15911" y="16569"/>
                    <a:pt x="16053" y="16780"/>
                  </a:cubicBezTo>
                  <a:cubicBezTo>
                    <a:pt x="16105" y="16860"/>
                    <a:pt x="16167" y="16866"/>
                    <a:pt x="16241" y="16797"/>
                  </a:cubicBezTo>
                  <a:cubicBezTo>
                    <a:pt x="16430" y="16621"/>
                    <a:pt x="16612" y="16438"/>
                    <a:pt x="16783" y="16256"/>
                  </a:cubicBezTo>
                  <a:cubicBezTo>
                    <a:pt x="16851" y="16187"/>
                    <a:pt x="16857" y="16124"/>
                    <a:pt x="16772" y="16067"/>
                  </a:cubicBezTo>
                  <a:cubicBezTo>
                    <a:pt x="16555" y="15919"/>
                    <a:pt x="16447" y="15685"/>
                    <a:pt x="16304" y="15480"/>
                  </a:cubicBezTo>
                  <a:cubicBezTo>
                    <a:pt x="16264" y="15423"/>
                    <a:pt x="16264" y="15377"/>
                    <a:pt x="16310" y="15326"/>
                  </a:cubicBezTo>
                  <a:cubicBezTo>
                    <a:pt x="16407" y="15206"/>
                    <a:pt x="16498" y="15086"/>
                    <a:pt x="16589" y="14967"/>
                  </a:cubicBezTo>
                  <a:cubicBezTo>
                    <a:pt x="16635" y="14904"/>
                    <a:pt x="16686" y="14904"/>
                    <a:pt x="16749" y="14921"/>
                  </a:cubicBezTo>
                  <a:cubicBezTo>
                    <a:pt x="16994" y="15001"/>
                    <a:pt x="17245" y="15058"/>
                    <a:pt x="17450" y="15229"/>
                  </a:cubicBezTo>
                  <a:cubicBezTo>
                    <a:pt x="17507" y="15280"/>
                    <a:pt x="17547" y="15280"/>
                    <a:pt x="17593" y="15206"/>
                  </a:cubicBezTo>
                  <a:cubicBezTo>
                    <a:pt x="17735" y="14972"/>
                    <a:pt x="17872" y="14744"/>
                    <a:pt x="17997" y="14505"/>
                  </a:cubicBezTo>
                  <a:cubicBezTo>
                    <a:pt x="18037" y="14425"/>
                    <a:pt x="18020" y="14379"/>
                    <a:pt x="17940" y="14351"/>
                  </a:cubicBezTo>
                  <a:cubicBezTo>
                    <a:pt x="17741" y="14276"/>
                    <a:pt x="17587" y="14134"/>
                    <a:pt x="17433" y="13991"/>
                  </a:cubicBezTo>
                  <a:cubicBezTo>
                    <a:pt x="17239" y="13803"/>
                    <a:pt x="17245" y="13854"/>
                    <a:pt x="17359" y="13598"/>
                  </a:cubicBezTo>
                  <a:cubicBezTo>
                    <a:pt x="17393" y="13518"/>
                    <a:pt x="17427" y="13438"/>
                    <a:pt x="17456" y="13358"/>
                  </a:cubicBezTo>
                  <a:cubicBezTo>
                    <a:pt x="17484" y="13267"/>
                    <a:pt x="17541" y="13238"/>
                    <a:pt x="17638" y="13238"/>
                  </a:cubicBezTo>
                  <a:cubicBezTo>
                    <a:pt x="17883" y="13244"/>
                    <a:pt x="18123" y="13238"/>
                    <a:pt x="18351" y="13347"/>
                  </a:cubicBezTo>
                  <a:cubicBezTo>
                    <a:pt x="18431" y="13381"/>
                    <a:pt x="18476" y="13375"/>
                    <a:pt x="18510" y="13278"/>
                  </a:cubicBezTo>
                  <a:cubicBezTo>
                    <a:pt x="18584" y="13027"/>
                    <a:pt x="18653" y="12776"/>
                    <a:pt x="18710" y="12520"/>
                  </a:cubicBezTo>
                  <a:cubicBezTo>
                    <a:pt x="18733" y="12417"/>
                    <a:pt x="18704" y="12377"/>
                    <a:pt x="18607" y="12371"/>
                  </a:cubicBezTo>
                  <a:cubicBezTo>
                    <a:pt x="18351" y="12349"/>
                    <a:pt x="18134" y="12206"/>
                    <a:pt x="17912" y="12092"/>
                  </a:cubicBezTo>
                  <a:cubicBezTo>
                    <a:pt x="17860" y="12069"/>
                    <a:pt x="17826" y="12035"/>
                    <a:pt x="17838" y="11972"/>
                  </a:cubicBezTo>
                  <a:cubicBezTo>
                    <a:pt x="17860" y="11824"/>
                    <a:pt x="17883" y="11670"/>
                    <a:pt x="17900" y="11522"/>
                  </a:cubicBezTo>
                  <a:cubicBezTo>
                    <a:pt x="17912" y="11436"/>
                    <a:pt x="17957" y="11402"/>
                    <a:pt x="18037" y="11385"/>
                  </a:cubicBezTo>
                  <a:cubicBezTo>
                    <a:pt x="18271" y="11339"/>
                    <a:pt x="18493" y="11259"/>
                    <a:pt x="18738" y="11305"/>
                  </a:cubicBezTo>
                  <a:cubicBezTo>
                    <a:pt x="18835" y="11322"/>
                    <a:pt x="18881" y="11282"/>
                    <a:pt x="18887" y="11174"/>
                  </a:cubicBezTo>
                  <a:cubicBezTo>
                    <a:pt x="18898" y="10928"/>
                    <a:pt x="18904" y="10683"/>
                    <a:pt x="18887" y="10432"/>
                  </a:cubicBezTo>
                  <a:cubicBezTo>
                    <a:pt x="18881" y="10318"/>
                    <a:pt x="18835" y="10278"/>
                    <a:pt x="18727" y="10295"/>
                  </a:cubicBezTo>
                  <a:cubicBezTo>
                    <a:pt x="18562" y="10324"/>
                    <a:pt x="18396" y="10301"/>
                    <a:pt x="18237" y="10261"/>
                  </a:cubicBezTo>
                  <a:cubicBezTo>
                    <a:pt x="17889" y="10170"/>
                    <a:pt x="17912" y="10261"/>
                    <a:pt x="17878" y="9862"/>
                  </a:cubicBezTo>
                  <a:cubicBezTo>
                    <a:pt x="17872" y="9793"/>
                    <a:pt x="17860" y="9731"/>
                    <a:pt x="17843" y="9668"/>
                  </a:cubicBezTo>
                  <a:cubicBezTo>
                    <a:pt x="17821" y="9582"/>
                    <a:pt x="17860" y="9537"/>
                    <a:pt x="17929" y="9497"/>
                  </a:cubicBezTo>
                  <a:cubicBezTo>
                    <a:pt x="18151" y="9388"/>
                    <a:pt x="18362" y="9251"/>
                    <a:pt x="18613" y="9229"/>
                  </a:cubicBezTo>
                  <a:cubicBezTo>
                    <a:pt x="18698" y="9223"/>
                    <a:pt x="18738" y="9183"/>
                    <a:pt x="18710" y="9086"/>
                  </a:cubicBezTo>
                  <a:cubicBezTo>
                    <a:pt x="18647" y="8835"/>
                    <a:pt x="18584" y="8578"/>
                    <a:pt x="18505" y="8327"/>
                  </a:cubicBezTo>
                  <a:cubicBezTo>
                    <a:pt x="18470" y="8225"/>
                    <a:pt x="18425" y="8213"/>
                    <a:pt x="18339" y="8253"/>
                  </a:cubicBezTo>
                  <a:cubicBezTo>
                    <a:pt x="18106" y="8362"/>
                    <a:pt x="17860" y="8356"/>
                    <a:pt x="17615" y="8362"/>
                  </a:cubicBezTo>
                  <a:cubicBezTo>
                    <a:pt x="17541" y="8362"/>
                    <a:pt x="17490" y="8339"/>
                    <a:pt x="17461" y="8265"/>
                  </a:cubicBezTo>
                  <a:cubicBezTo>
                    <a:pt x="17410" y="8134"/>
                    <a:pt x="17359" y="8008"/>
                    <a:pt x="17302" y="7883"/>
                  </a:cubicBezTo>
                  <a:cubicBezTo>
                    <a:pt x="17268" y="7803"/>
                    <a:pt x="17285" y="7751"/>
                    <a:pt x="17347" y="7694"/>
                  </a:cubicBezTo>
                  <a:cubicBezTo>
                    <a:pt x="17530" y="7529"/>
                    <a:pt x="17701" y="7346"/>
                    <a:pt x="17935" y="7255"/>
                  </a:cubicBezTo>
                  <a:cubicBezTo>
                    <a:pt x="18020" y="7221"/>
                    <a:pt x="18037" y="7181"/>
                    <a:pt x="17992" y="7095"/>
                  </a:cubicBezTo>
                  <a:cubicBezTo>
                    <a:pt x="17866" y="6862"/>
                    <a:pt x="17735" y="6628"/>
                    <a:pt x="17593" y="6405"/>
                  </a:cubicBezTo>
                  <a:cubicBezTo>
                    <a:pt x="17541" y="6325"/>
                    <a:pt x="17501" y="6325"/>
                    <a:pt x="17439" y="6377"/>
                  </a:cubicBezTo>
                  <a:cubicBezTo>
                    <a:pt x="17290" y="6497"/>
                    <a:pt x="17114" y="6571"/>
                    <a:pt x="16931" y="6622"/>
                  </a:cubicBezTo>
                  <a:cubicBezTo>
                    <a:pt x="16572" y="6719"/>
                    <a:pt x="16686" y="6753"/>
                    <a:pt x="16464" y="6468"/>
                  </a:cubicBezTo>
                  <a:cubicBezTo>
                    <a:pt x="16418" y="6405"/>
                    <a:pt x="16373" y="6348"/>
                    <a:pt x="16321" y="6291"/>
                  </a:cubicBezTo>
                  <a:cubicBezTo>
                    <a:pt x="16264" y="6228"/>
                    <a:pt x="16264" y="6171"/>
                    <a:pt x="16316" y="6103"/>
                  </a:cubicBezTo>
                  <a:cubicBezTo>
                    <a:pt x="16452" y="5898"/>
                    <a:pt x="16561" y="5675"/>
                    <a:pt x="16777" y="5527"/>
                  </a:cubicBezTo>
                  <a:cubicBezTo>
                    <a:pt x="16851" y="5476"/>
                    <a:pt x="16851" y="5419"/>
                    <a:pt x="16789" y="5350"/>
                  </a:cubicBezTo>
                  <a:cubicBezTo>
                    <a:pt x="16612" y="5162"/>
                    <a:pt x="16430" y="4979"/>
                    <a:pt x="16247" y="4803"/>
                  </a:cubicBezTo>
                  <a:cubicBezTo>
                    <a:pt x="16167" y="4728"/>
                    <a:pt x="16110" y="4734"/>
                    <a:pt x="16048" y="4820"/>
                  </a:cubicBezTo>
                  <a:cubicBezTo>
                    <a:pt x="15951" y="4957"/>
                    <a:pt x="15820" y="5059"/>
                    <a:pt x="15677" y="5145"/>
                  </a:cubicBezTo>
                  <a:cubicBezTo>
                    <a:pt x="15392" y="5322"/>
                    <a:pt x="15392" y="5322"/>
                    <a:pt x="15130" y="5122"/>
                  </a:cubicBezTo>
                  <a:cubicBezTo>
                    <a:pt x="15078" y="5082"/>
                    <a:pt x="15027" y="5036"/>
                    <a:pt x="14970" y="5002"/>
                  </a:cubicBezTo>
                  <a:cubicBezTo>
                    <a:pt x="14896" y="4957"/>
                    <a:pt x="14885" y="4900"/>
                    <a:pt x="14913" y="4820"/>
                  </a:cubicBezTo>
                  <a:cubicBezTo>
                    <a:pt x="14993" y="4580"/>
                    <a:pt x="15044" y="4329"/>
                    <a:pt x="15215" y="4135"/>
                  </a:cubicBezTo>
                  <a:cubicBezTo>
                    <a:pt x="15272" y="4072"/>
                    <a:pt x="15261" y="4027"/>
                    <a:pt x="15181" y="3981"/>
                  </a:cubicBezTo>
                  <a:cubicBezTo>
                    <a:pt x="14959" y="3844"/>
                    <a:pt x="14736" y="3707"/>
                    <a:pt x="14503" y="3588"/>
                  </a:cubicBezTo>
                  <a:cubicBezTo>
                    <a:pt x="14417" y="3542"/>
                    <a:pt x="14360" y="3542"/>
                    <a:pt x="14326" y="3639"/>
                  </a:cubicBezTo>
                  <a:cubicBezTo>
                    <a:pt x="14240" y="3879"/>
                    <a:pt x="14052" y="4044"/>
                    <a:pt x="13887" y="4232"/>
                  </a:cubicBezTo>
                  <a:cubicBezTo>
                    <a:pt x="13824" y="4301"/>
                    <a:pt x="13767" y="4306"/>
                    <a:pt x="13688" y="4272"/>
                  </a:cubicBezTo>
                  <a:cubicBezTo>
                    <a:pt x="13574" y="4215"/>
                    <a:pt x="13454" y="4169"/>
                    <a:pt x="13334" y="4124"/>
                  </a:cubicBezTo>
                  <a:cubicBezTo>
                    <a:pt x="13249" y="4095"/>
                    <a:pt x="13220" y="4038"/>
                    <a:pt x="13220" y="3953"/>
                  </a:cubicBezTo>
                  <a:cubicBezTo>
                    <a:pt x="13226" y="3707"/>
                    <a:pt x="13220" y="3468"/>
                    <a:pt x="13328" y="3240"/>
                  </a:cubicBezTo>
                  <a:cubicBezTo>
                    <a:pt x="13368" y="3154"/>
                    <a:pt x="13357" y="3103"/>
                    <a:pt x="13254" y="3074"/>
                  </a:cubicBezTo>
                  <a:cubicBezTo>
                    <a:pt x="13003" y="3000"/>
                    <a:pt x="12753" y="2932"/>
                    <a:pt x="12496" y="2869"/>
                  </a:cubicBezTo>
                  <a:cubicBezTo>
                    <a:pt x="12399" y="2846"/>
                    <a:pt x="12365" y="2880"/>
                    <a:pt x="12354" y="2966"/>
                  </a:cubicBezTo>
                  <a:cubicBezTo>
                    <a:pt x="12331" y="3223"/>
                    <a:pt x="12188" y="3439"/>
                    <a:pt x="12080" y="3662"/>
                  </a:cubicBezTo>
                  <a:cubicBezTo>
                    <a:pt x="12051" y="3725"/>
                    <a:pt x="12006" y="3753"/>
                    <a:pt x="11932" y="3742"/>
                  </a:cubicBezTo>
                  <a:cubicBezTo>
                    <a:pt x="11795" y="3719"/>
                    <a:pt x="11658" y="3702"/>
                    <a:pt x="11521" y="3690"/>
                  </a:cubicBezTo>
                  <a:cubicBezTo>
                    <a:pt x="11430" y="3679"/>
                    <a:pt x="11379" y="3639"/>
                    <a:pt x="11362" y="3542"/>
                  </a:cubicBezTo>
                  <a:cubicBezTo>
                    <a:pt x="11322" y="3314"/>
                    <a:pt x="11236" y="3091"/>
                    <a:pt x="11282" y="2852"/>
                  </a:cubicBezTo>
                  <a:cubicBezTo>
                    <a:pt x="11299" y="2749"/>
                    <a:pt x="11259" y="2698"/>
                    <a:pt x="11145" y="2692"/>
                  </a:cubicBezTo>
                  <a:cubicBezTo>
                    <a:pt x="10900" y="2681"/>
                    <a:pt x="10655" y="2681"/>
                    <a:pt x="10404" y="2692"/>
                  </a:cubicBezTo>
                  <a:cubicBezTo>
                    <a:pt x="10296" y="2698"/>
                    <a:pt x="10256" y="2743"/>
                    <a:pt x="10273" y="2840"/>
                  </a:cubicBezTo>
                  <a:cubicBezTo>
                    <a:pt x="10318" y="3086"/>
                    <a:pt x="10233" y="3308"/>
                    <a:pt x="10193" y="3542"/>
                  </a:cubicBezTo>
                  <a:cubicBezTo>
                    <a:pt x="10176" y="3633"/>
                    <a:pt x="10130" y="3673"/>
                    <a:pt x="10045" y="3685"/>
                  </a:cubicBezTo>
                  <a:cubicBezTo>
                    <a:pt x="9908" y="3702"/>
                    <a:pt x="9771" y="3713"/>
                    <a:pt x="9634" y="3736"/>
                  </a:cubicBezTo>
                  <a:cubicBezTo>
                    <a:pt x="9554" y="3753"/>
                    <a:pt x="9509" y="3725"/>
                    <a:pt x="9475" y="3650"/>
                  </a:cubicBezTo>
                  <a:cubicBezTo>
                    <a:pt x="9366" y="3428"/>
                    <a:pt x="9230" y="3223"/>
                    <a:pt x="9207" y="2966"/>
                  </a:cubicBezTo>
                  <a:cubicBezTo>
                    <a:pt x="9195" y="2869"/>
                    <a:pt x="9155" y="2840"/>
                    <a:pt x="9059" y="2863"/>
                  </a:cubicBezTo>
                  <a:cubicBezTo>
                    <a:pt x="8813" y="2920"/>
                    <a:pt x="8568" y="2983"/>
                    <a:pt x="8329" y="3057"/>
                  </a:cubicBezTo>
                  <a:cubicBezTo>
                    <a:pt x="8221" y="3091"/>
                    <a:pt x="8186" y="3131"/>
                    <a:pt x="8238" y="3240"/>
                  </a:cubicBezTo>
                  <a:cubicBezTo>
                    <a:pt x="8306" y="3405"/>
                    <a:pt x="8340" y="3576"/>
                    <a:pt x="8340" y="3753"/>
                  </a:cubicBezTo>
                  <a:cubicBezTo>
                    <a:pt x="8340" y="4067"/>
                    <a:pt x="8346" y="4067"/>
                    <a:pt x="8050" y="4187"/>
                  </a:cubicBezTo>
                  <a:cubicBezTo>
                    <a:pt x="7987" y="4209"/>
                    <a:pt x="7924" y="4238"/>
                    <a:pt x="7867" y="4266"/>
                  </a:cubicBezTo>
                  <a:cubicBezTo>
                    <a:pt x="7793" y="4306"/>
                    <a:pt x="7736" y="4295"/>
                    <a:pt x="7679" y="4232"/>
                  </a:cubicBezTo>
                  <a:cubicBezTo>
                    <a:pt x="7508" y="4044"/>
                    <a:pt x="7320" y="3873"/>
                    <a:pt x="7234" y="3628"/>
                  </a:cubicBezTo>
                  <a:cubicBezTo>
                    <a:pt x="7206" y="3548"/>
                    <a:pt x="7166" y="3531"/>
                    <a:pt x="7086" y="3571"/>
                  </a:cubicBezTo>
                  <a:cubicBezTo>
                    <a:pt x="6847" y="3696"/>
                    <a:pt x="6613" y="3833"/>
                    <a:pt x="6385" y="3975"/>
                  </a:cubicBezTo>
                  <a:cubicBezTo>
                    <a:pt x="6316" y="4015"/>
                    <a:pt x="6299" y="4055"/>
                    <a:pt x="6351" y="4118"/>
                  </a:cubicBezTo>
                  <a:cubicBezTo>
                    <a:pt x="6527" y="4318"/>
                    <a:pt x="6584" y="4569"/>
                    <a:pt x="6659" y="4814"/>
                  </a:cubicBezTo>
                  <a:cubicBezTo>
                    <a:pt x="6681" y="4888"/>
                    <a:pt x="6676" y="4939"/>
                    <a:pt x="6607" y="4985"/>
                  </a:cubicBezTo>
                  <a:cubicBezTo>
                    <a:pt x="6493" y="5065"/>
                    <a:pt x="6379" y="5156"/>
                    <a:pt x="6271" y="5247"/>
                  </a:cubicBezTo>
                  <a:cubicBezTo>
                    <a:pt x="6202" y="5304"/>
                    <a:pt x="6151" y="5293"/>
                    <a:pt x="6083" y="5247"/>
                  </a:cubicBezTo>
                  <a:cubicBezTo>
                    <a:pt x="5878" y="5111"/>
                    <a:pt x="5655" y="4996"/>
                    <a:pt x="5507" y="4785"/>
                  </a:cubicBezTo>
                  <a:cubicBezTo>
                    <a:pt x="5461" y="4717"/>
                    <a:pt x="5404" y="4711"/>
                    <a:pt x="5342" y="4768"/>
                  </a:cubicBezTo>
                  <a:cubicBezTo>
                    <a:pt x="5148" y="4945"/>
                    <a:pt x="4960" y="5139"/>
                    <a:pt x="4777" y="5333"/>
                  </a:cubicBezTo>
                  <a:cubicBezTo>
                    <a:pt x="4720" y="5396"/>
                    <a:pt x="4715" y="5453"/>
                    <a:pt x="4789" y="5498"/>
                  </a:cubicBezTo>
                  <a:cubicBezTo>
                    <a:pt x="5005" y="5647"/>
                    <a:pt x="5114" y="5875"/>
                    <a:pt x="5256" y="6080"/>
                  </a:cubicBezTo>
                  <a:cubicBezTo>
                    <a:pt x="5302" y="6143"/>
                    <a:pt x="5302" y="6200"/>
                    <a:pt x="5250" y="6257"/>
                  </a:cubicBezTo>
                  <a:cubicBezTo>
                    <a:pt x="5159" y="6371"/>
                    <a:pt x="5068" y="6491"/>
                    <a:pt x="4983" y="6605"/>
                  </a:cubicBezTo>
                  <a:cubicBezTo>
                    <a:pt x="4943" y="6656"/>
                    <a:pt x="4903" y="6673"/>
                    <a:pt x="4834" y="6651"/>
                  </a:cubicBezTo>
                  <a:cubicBezTo>
                    <a:pt x="4583" y="6571"/>
                    <a:pt x="4327" y="6514"/>
                    <a:pt x="4122" y="6337"/>
                  </a:cubicBezTo>
                  <a:cubicBezTo>
                    <a:pt x="4065" y="6286"/>
                    <a:pt x="4019" y="6286"/>
                    <a:pt x="3979" y="6360"/>
                  </a:cubicBezTo>
                  <a:cubicBezTo>
                    <a:pt x="3837" y="6594"/>
                    <a:pt x="3694" y="6822"/>
                    <a:pt x="3574" y="7061"/>
                  </a:cubicBezTo>
                  <a:cubicBezTo>
                    <a:pt x="3535" y="7141"/>
                    <a:pt x="3546" y="7187"/>
                    <a:pt x="3626" y="7215"/>
                  </a:cubicBezTo>
                  <a:cubicBezTo>
                    <a:pt x="3825" y="7289"/>
                    <a:pt x="3985" y="7432"/>
                    <a:pt x="4133" y="7575"/>
                  </a:cubicBezTo>
                  <a:cubicBezTo>
                    <a:pt x="4333" y="7763"/>
                    <a:pt x="4321" y="7717"/>
                    <a:pt x="4207" y="7968"/>
                  </a:cubicBezTo>
                  <a:cubicBezTo>
                    <a:pt x="4173" y="8048"/>
                    <a:pt x="4139" y="8128"/>
                    <a:pt x="4110" y="8208"/>
                  </a:cubicBezTo>
                  <a:cubicBezTo>
                    <a:pt x="4082" y="8299"/>
                    <a:pt x="4025" y="8327"/>
                    <a:pt x="3928" y="8327"/>
                  </a:cubicBezTo>
                  <a:cubicBezTo>
                    <a:pt x="3683" y="8322"/>
                    <a:pt x="3443" y="8327"/>
                    <a:pt x="3215" y="8219"/>
                  </a:cubicBezTo>
                  <a:cubicBezTo>
                    <a:pt x="3124" y="8173"/>
                    <a:pt x="3084" y="8208"/>
                    <a:pt x="3056" y="8305"/>
                  </a:cubicBezTo>
                  <a:cubicBezTo>
                    <a:pt x="2982" y="8550"/>
                    <a:pt x="2919" y="8801"/>
                    <a:pt x="2856" y="9046"/>
                  </a:cubicBezTo>
                  <a:cubicBezTo>
                    <a:pt x="2833" y="9149"/>
                    <a:pt x="2862" y="9189"/>
                    <a:pt x="2959" y="9194"/>
                  </a:cubicBezTo>
                  <a:cubicBezTo>
                    <a:pt x="3215" y="9217"/>
                    <a:pt x="3432" y="9360"/>
                    <a:pt x="3654" y="9474"/>
                  </a:cubicBezTo>
                  <a:cubicBezTo>
                    <a:pt x="3711" y="9502"/>
                    <a:pt x="3740" y="9542"/>
                    <a:pt x="3728" y="9611"/>
                  </a:cubicBezTo>
                  <a:cubicBezTo>
                    <a:pt x="3706" y="9748"/>
                    <a:pt x="3688" y="9885"/>
                    <a:pt x="3677" y="10021"/>
                  </a:cubicBezTo>
                  <a:cubicBezTo>
                    <a:pt x="3666" y="10118"/>
                    <a:pt x="3626" y="10170"/>
                    <a:pt x="3523" y="10193"/>
                  </a:cubicBezTo>
                  <a:cubicBezTo>
                    <a:pt x="3295" y="10232"/>
                    <a:pt x="3073" y="10312"/>
                    <a:pt x="2833" y="10272"/>
                  </a:cubicBezTo>
                  <a:cubicBezTo>
                    <a:pt x="2719" y="10250"/>
                    <a:pt x="2685" y="10307"/>
                    <a:pt x="2679" y="10415"/>
                  </a:cubicBezTo>
                  <a:cubicBezTo>
                    <a:pt x="2668" y="10655"/>
                    <a:pt x="2668" y="10888"/>
                    <a:pt x="2679" y="11128"/>
                  </a:cubicBezTo>
                  <a:cubicBezTo>
                    <a:pt x="2685" y="11253"/>
                    <a:pt x="2731" y="11305"/>
                    <a:pt x="2850" y="11282"/>
                  </a:cubicBezTo>
                  <a:cubicBezTo>
                    <a:pt x="3096" y="11236"/>
                    <a:pt x="3318" y="11328"/>
                    <a:pt x="3552" y="11368"/>
                  </a:cubicBezTo>
                  <a:cubicBezTo>
                    <a:pt x="3620" y="11379"/>
                    <a:pt x="3660" y="11419"/>
                    <a:pt x="3666" y="11493"/>
                  </a:cubicBezTo>
                  <a:cubicBezTo>
                    <a:pt x="3683" y="11636"/>
                    <a:pt x="3694" y="11778"/>
                    <a:pt x="3723" y="11915"/>
                  </a:cubicBezTo>
                  <a:cubicBezTo>
                    <a:pt x="3740" y="12001"/>
                    <a:pt x="3711" y="12046"/>
                    <a:pt x="3637" y="12086"/>
                  </a:cubicBezTo>
                  <a:cubicBezTo>
                    <a:pt x="3415" y="12200"/>
                    <a:pt x="3198" y="12331"/>
                    <a:pt x="2936" y="12354"/>
                  </a:cubicBezTo>
                  <a:cubicBezTo>
                    <a:pt x="2850" y="12360"/>
                    <a:pt x="2828" y="12406"/>
                    <a:pt x="2850" y="12491"/>
                  </a:cubicBezTo>
                  <a:cubicBezTo>
                    <a:pt x="2913" y="12748"/>
                    <a:pt x="2976" y="12999"/>
                    <a:pt x="3056" y="13250"/>
                  </a:cubicBezTo>
                  <a:cubicBezTo>
                    <a:pt x="3084" y="13352"/>
                    <a:pt x="3130" y="13370"/>
                    <a:pt x="3221" y="13330"/>
                  </a:cubicBezTo>
                  <a:cubicBezTo>
                    <a:pt x="3409" y="13244"/>
                    <a:pt x="3614" y="13221"/>
                    <a:pt x="3820" y="13221"/>
                  </a:cubicBezTo>
                  <a:cubicBezTo>
                    <a:pt x="4105" y="13221"/>
                    <a:pt x="4048" y="13193"/>
                    <a:pt x="4150" y="13449"/>
                  </a:cubicBezTo>
                  <a:cubicBezTo>
                    <a:pt x="4179" y="13524"/>
                    <a:pt x="4207" y="13603"/>
                    <a:pt x="4247" y="13672"/>
                  </a:cubicBezTo>
                  <a:cubicBezTo>
                    <a:pt x="4298" y="13769"/>
                    <a:pt x="4276" y="13837"/>
                    <a:pt x="4196" y="13906"/>
                  </a:cubicBezTo>
                  <a:cubicBezTo>
                    <a:pt x="4013" y="14065"/>
                    <a:pt x="3848" y="14242"/>
                    <a:pt x="3614" y="14333"/>
                  </a:cubicBezTo>
                  <a:cubicBezTo>
                    <a:pt x="3529" y="14362"/>
                    <a:pt x="3529" y="14413"/>
                    <a:pt x="3563" y="14487"/>
                  </a:cubicBezTo>
                  <a:cubicBezTo>
                    <a:pt x="3688" y="14727"/>
                    <a:pt x="3825" y="14961"/>
                    <a:pt x="3968" y="15189"/>
                  </a:cubicBezTo>
                  <a:cubicBezTo>
                    <a:pt x="4008" y="15252"/>
                    <a:pt x="4042" y="15263"/>
                    <a:pt x="4099" y="15218"/>
                  </a:cubicBezTo>
                  <a:cubicBezTo>
                    <a:pt x="4298" y="15046"/>
                    <a:pt x="4555" y="14989"/>
                    <a:pt x="4794" y="14910"/>
                  </a:cubicBezTo>
                  <a:cubicBezTo>
                    <a:pt x="4874" y="14881"/>
                    <a:pt x="4926" y="14892"/>
                    <a:pt x="4977" y="14967"/>
                  </a:cubicBezTo>
                  <a:cubicBezTo>
                    <a:pt x="5057" y="15086"/>
                    <a:pt x="5148" y="15195"/>
                    <a:pt x="5239" y="15303"/>
                  </a:cubicBezTo>
                  <a:cubicBezTo>
                    <a:pt x="5285" y="15360"/>
                    <a:pt x="5290" y="15406"/>
                    <a:pt x="5250" y="15469"/>
                  </a:cubicBezTo>
                  <a:cubicBezTo>
                    <a:pt x="5108" y="15674"/>
                    <a:pt x="5000" y="15908"/>
                    <a:pt x="4783" y="16056"/>
                  </a:cubicBezTo>
                  <a:cubicBezTo>
                    <a:pt x="4709" y="16107"/>
                    <a:pt x="4703" y="16159"/>
                    <a:pt x="4772" y="16233"/>
                  </a:cubicBezTo>
                  <a:cubicBezTo>
                    <a:pt x="4948" y="16427"/>
                    <a:pt x="5131" y="16609"/>
                    <a:pt x="5325" y="16786"/>
                  </a:cubicBezTo>
                  <a:cubicBezTo>
                    <a:pt x="5393" y="16849"/>
                    <a:pt x="5450" y="16849"/>
                    <a:pt x="5501" y="16775"/>
                  </a:cubicBezTo>
                  <a:cubicBezTo>
                    <a:pt x="5644" y="16564"/>
                    <a:pt x="5872" y="16455"/>
                    <a:pt x="6077" y="16313"/>
                  </a:cubicBezTo>
                  <a:cubicBezTo>
                    <a:pt x="6145" y="16267"/>
                    <a:pt x="6202" y="16267"/>
                    <a:pt x="6265" y="16318"/>
                  </a:cubicBezTo>
                  <a:cubicBezTo>
                    <a:pt x="6374" y="16404"/>
                    <a:pt x="6482" y="16489"/>
                    <a:pt x="6590" y="16569"/>
                  </a:cubicBezTo>
                  <a:cubicBezTo>
                    <a:pt x="6659" y="16621"/>
                    <a:pt x="6676" y="16672"/>
                    <a:pt x="6647" y="16752"/>
                  </a:cubicBezTo>
                  <a:cubicBezTo>
                    <a:pt x="6573" y="16991"/>
                    <a:pt x="6510" y="17237"/>
                    <a:pt x="6345" y="17436"/>
                  </a:cubicBezTo>
                  <a:cubicBezTo>
                    <a:pt x="6288" y="17499"/>
                    <a:pt x="6294" y="17545"/>
                    <a:pt x="6374" y="17590"/>
                  </a:cubicBezTo>
                  <a:cubicBezTo>
                    <a:pt x="6602" y="17727"/>
                    <a:pt x="6830" y="17864"/>
                    <a:pt x="7063" y="17990"/>
                  </a:cubicBezTo>
                  <a:cubicBezTo>
                    <a:pt x="7149" y="18035"/>
                    <a:pt x="7194" y="18018"/>
                    <a:pt x="7223" y="17933"/>
                  </a:cubicBezTo>
                  <a:cubicBezTo>
                    <a:pt x="7314" y="17693"/>
                    <a:pt x="7497" y="17528"/>
                    <a:pt x="7662" y="17339"/>
                  </a:cubicBezTo>
                  <a:cubicBezTo>
                    <a:pt x="7725" y="17271"/>
                    <a:pt x="7782" y="17265"/>
                    <a:pt x="7861" y="17299"/>
                  </a:cubicBezTo>
                  <a:cubicBezTo>
                    <a:pt x="7975" y="17356"/>
                    <a:pt x="8095" y="17402"/>
                    <a:pt x="8215" y="17448"/>
                  </a:cubicBezTo>
                  <a:cubicBezTo>
                    <a:pt x="8300" y="17476"/>
                    <a:pt x="8329" y="17528"/>
                    <a:pt x="8329" y="17619"/>
                  </a:cubicBezTo>
                  <a:cubicBezTo>
                    <a:pt x="8323" y="17864"/>
                    <a:pt x="8329" y="18104"/>
                    <a:pt x="8221" y="18332"/>
                  </a:cubicBezTo>
                  <a:cubicBezTo>
                    <a:pt x="8175" y="18429"/>
                    <a:pt x="8209" y="18474"/>
                    <a:pt x="8312" y="18503"/>
                  </a:cubicBezTo>
                  <a:cubicBezTo>
                    <a:pt x="8551" y="18577"/>
                    <a:pt x="8796" y="18640"/>
                    <a:pt x="9041" y="18697"/>
                  </a:cubicBezTo>
                  <a:cubicBezTo>
                    <a:pt x="9138" y="18720"/>
                    <a:pt x="9190" y="18708"/>
                    <a:pt x="9195" y="18600"/>
                  </a:cubicBezTo>
                  <a:cubicBezTo>
                    <a:pt x="9218" y="18343"/>
                    <a:pt x="9355" y="18126"/>
                    <a:pt x="9469" y="17904"/>
                  </a:cubicBezTo>
                  <a:cubicBezTo>
                    <a:pt x="9497" y="17847"/>
                    <a:pt x="9532" y="17813"/>
                    <a:pt x="9600" y="17824"/>
                  </a:cubicBezTo>
                  <a:cubicBezTo>
                    <a:pt x="9743" y="17847"/>
                    <a:pt x="9891" y="17864"/>
                    <a:pt x="10039" y="17881"/>
                  </a:cubicBezTo>
                  <a:cubicBezTo>
                    <a:pt x="10130" y="17893"/>
                    <a:pt x="10170" y="17938"/>
                    <a:pt x="10187" y="18024"/>
                  </a:cubicBezTo>
                  <a:cubicBezTo>
                    <a:pt x="10227" y="18252"/>
                    <a:pt x="10313" y="18474"/>
                    <a:pt x="10267" y="18714"/>
                  </a:cubicBezTo>
                  <a:cubicBezTo>
                    <a:pt x="10244" y="18834"/>
                    <a:pt x="10301" y="18868"/>
                    <a:pt x="10415" y="18874"/>
                  </a:cubicBezTo>
                  <a:cubicBezTo>
                    <a:pt x="10655" y="18885"/>
                    <a:pt x="10888" y="18885"/>
                    <a:pt x="11128" y="18874"/>
                  </a:cubicBezTo>
                  <a:cubicBezTo>
                    <a:pt x="11248" y="18868"/>
                    <a:pt x="11293" y="18822"/>
                    <a:pt x="11276" y="18708"/>
                  </a:cubicBezTo>
                  <a:cubicBezTo>
                    <a:pt x="11231" y="18463"/>
                    <a:pt x="11316" y="18241"/>
                    <a:pt x="11362" y="18007"/>
                  </a:cubicBezTo>
                  <a:cubicBezTo>
                    <a:pt x="11373" y="17927"/>
                    <a:pt x="11419" y="17893"/>
                    <a:pt x="11493" y="17881"/>
                  </a:cubicBezTo>
                  <a:cubicBezTo>
                    <a:pt x="11635" y="17864"/>
                    <a:pt x="11778" y="17853"/>
                    <a:pt x="11915" y="17824"/>
                  </a:cubicBezTo>
                  <a:cubicBezTo>
                    <a:pt x="11994" y="17813"/>
                    <a:pt x="12040" y="17836"/>
                    <a:pt x="12074" y="17904"/>
                  </a:cubicBezTo>
                  <a:cubicBezTo>
                    <a:pt x="12183" y="18126"/>
                    <a:pt x="12319" y="18332"/>
                    <a:pt x="12342" y="18588"/>
                  </a:cubicBezTo>
                  <a:cubicBezTo>
                    <a:pt x="12354" y="18685"/>
                    <a:pt x="12393" y="18714"/>
                    <a:pt x="12490" y="18691"/>
                  </a:cubicBezTo>
                  <a:cubicBezTo>
                    <a:pt x="12736" y="18634"/>
                    <a:pt x="12981" y="18571"/>
                    <a:pt x="13220" y="18497"/>
                  </a:cubicBezTo>
                  <a:cubicBezTo>
                    <a:pt x="13328" y="18463"/>
                    <a:pt x="13363" y="18423"/>
                    <a:pt x="13311" y="18315"/>
                  </a:cubicBezTo>
                  <a:cubicBezTo>
                    <a:pt x="13260" y="18172"/>
                    <a:pt x="13220" y="17990"/>
                    <a:pt x="13237" y="17841"/>
                  </a:cubicBezTo>
                  <a:close/>
                </a:path>
              </a:pathLst>
            </a:custGeom>
            <a:solidFill>
              <a:srgbClr val="FFFFFF"/>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latin typeface="Verdana"/>
                  <a:ea typeface="Verdana"/>
                  <a:cs typeface="Verdana"/>
                  <a:sym typeface="Verdana"/>
                </a:defRPr>
              </a:pPr>
              <a:endParaRPr kumimoji="0" sz="1300" b="0" i="0" u="none" strike="noStrike" kern="1200" cap="none" spc="0" normalizeH="0" baseline="0" noProof="0">
                <a:ln>
                  <a:noFill/>
                </a:ln>
                <a:solidFill>
                  <a:srgbClr val="000000"/>
                </a:solidFill>
                <a:effectLst/>
                <a:uLnTx/>
                <a:uFillTx/>
                <a:latin typeface="Verdana"/>
                <a:ea typeface="Verdana"/>
                <a:cs typeface="Verdana"/>
                <a:sym typeface="Verdana"/>
              </a:endParaRPr>
            </a:p>
          </p:txBody>
        </p:sp>
        <p:sp>
          <p:nvSpPr>
            <p:cNvPr id="44" name="Freeform: Shape 51">
              <a:extLst>
                <a:ext uri="{FF2B5EF4-FFF2-40B4-BE49-F238E27FC236}">
                  <a16:creationId xmlns:a16="http://schemas.microsoft.com/office/drawing/2014/main" id="{ACD0696F-7248-419F-9F65-C805B9986F74}"/>
                </a:ext>
              </a:extLst>
            </p:cNvPr>
            <p:cNvSpPr/>
            <p:nvPr/>
          </p:nvSpPr>
          <p:spPr>
            <a:xfrm rot="10800000" flipH="1">
              <a:off x="1884199" y="2809859"/>
              <a:ext cx="422608" cy="420403"/>
            </a:xfrm>
            <a:custGeom>
              <a:avLst/>
              <a:gdLst/>
              <a:ahLst/>
              <a:cxnLst>
                <a:cxn ang="0">
                  <a:pos x="wd2" y="hd2"/>
                </a:cxn>
                <a:cxn ang="5400000">
                  <a:pos x="wd2" y="hd2"/>
                </a:cxn>
                <a:cxn ang="10800000">
                  <a:pos x="wd2" y="hd2"/>
                </a:cxn>
                <a:cxn ang="16200000">
                  <a:pos x="wd2" y="hd2"/>
                </a:cxn>
              </a:cxnLst>
              <a:rect l="0" t="0" r="r" b="b"/>
              <a:pathLst>
                <a:path w="21600" h="21600" extrusionOk="0">
                  <a:moveTo>
                    <a:pt x="16844" y="11917"/>
                  </a:moveTo>
                  <a:lnTo>
                    <a:pt x="21600" y="11917"/>
                  </a:lnTo>
                  <a:lnTo>
                    <a:pt x="21275" y="14079"/>
                  </a:lnTo>
                  <a:cubicBezTo>
                    <a:pt x="20313" y="17186"/>
                    <a:pt x="18022" y="19704"/>
                    <a:pt x="15069" y="20959"/>
                  </a:cubicBezTo>
                  <a:lnTo>
                    <a:pt x="11911" y="21600"/>
                  </a:lnTo>
                  <a:lnTo>
                    <a:pt x="11911" y="16991"/>
                  </a:lnTo>
                  <a:lnTo>
                    <a:pt x="13285" y="16712"/>
                  </a:lnTo>
                  <a:cubicBezTo>
                    <a:pt x="14430" y="16225"/>
                    <a:pt x="15405" y="15411"/>
                    <a:pt x="16093" y="14387"/>
                  </a:cubicBezTo>
                  <a:close/>
                  <a:moveTo>
                    <a:pt x="0" y="11917"/>
                  </a:moveTo>
                  <a:lnTo>
                    <a:pt x="4756" y="11917"/>
                  </a:lnTo>
                  <a:lnTo>
                    <a:pt x="5507" y="14387"/>
                  </a:lnTo>
                  <a:cubicBezTo>
                    <a:pt x="6195" y="15411"/>
                    <a:pt x="7170" y="16225"/>
                    <a:pt x="8315" y="16712"/>
                  </a:cubicBezTo>
                  <a:lnTo>
                    <a:pt x="9689" y="16991"/>
                  </a:lnTo>
                  <a:lnTo>
                    <a:pt x="9689" y="21600"/>
                  </a:lnTo>
                  <a:lnTo>
                    <a:pt x="6531" y="20959"/>
                  </a:lnTo>
                  <a:cubicBezTo>
                    <a:pt x="3578" y="19704"/>
                    <a:pt x="1287" y="17186"/>
                    <a:pt x="325" y="14079"/>
                  </a:cubicBezTo>
                  <a:close/>
                  <a:moveTo>
                    <a:pt x="11911" y="0"/>
                  </a:moveTo>
                  <a:lnTo>
                    <a:pt x="15069" y="641"/>
                  </a:lnTo>
                  <a:cubicBezTo>
                    <a:pt x="18022" y="1896"/>
                    <a:pt x="20313" y="4414"/>
                    <a:pt x="21275" y="7521"/>
                  </a:cubicBezTo>
                  <a:lnTo>
                    <a:pt x="21600" y="9683"/>
                  </a:lnTo>
                  <a:lnTo>
                    <a:pt x="16844" y="9683"/>
                  </a:lnTo>
                  <a:lnTo>
                    <a:pt x="16093" y="7213"/>
                  </a:lnTo>
                  <a:cubicBezTo>
                    <a:pt x="15405" y="6189"/>
                    <a:pt x="14430" y="5375"/>
                    <a:pt x="13285" y="4888"/>
                  </a:cubicBezTo>
                  <a:lnTo>
                    <a:pt x="11911" y="4609"/>
                  </a:lnTo>
                  <a:close/>
                  <a:moveTo>
                    <a:pt x="9689" y="0"/>
                  </a:moveTo>
                  <a:lnTo>
                    <a:pt x="9689" y="4609"/>
                  </a:lnTo>
                  <a:lnTo>
                    <a:pt x="8315" y="4888"/>
                  </a:lnTo>
                  <a:cubicBezTo>
                    <a:pt x="7170" y="5375"/>
                    <a:pt x="6195" y="6189"/>
                    <a:pt x="5507" y="7213"/>
                  </a:cubicBezTo>
                  <a:lnTo>
                    <a:pt x="4756" y="9683"/>
                  </a:lnTo>
                  <a:lnTo>
                    <a:pt x="0" y="9683"/>
                  </a:lnTo>
                  <a:lnTo>
                    <a:pt x="325" y="7521"/>
                  </a:lnTo>
                  <a:cubicBezTo>
                    <a:pt x="1287" y="4414"/>
                    <a:pt x="3578" y="1896"/>
                    <a:pt x="6531" y="641"/>
                  </a:cubicBezTo>
                  <a:close/>
                </a:path>
              </a:pathLst>
            </a:custGeom>
            <a:solidFill>
              <a:srgbClr val="FFFFFF"/>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latin typeface="Verdana"/>
                  <a:ea typeface="Verdana"/>
                  <a:cs typeface="Verdana"/>
                  <a:sym typeface="Verdana"/>
                </a:defRPr>
              </a:pPr>
              <a:endParaRPr kumimoji="0" sz="1300" b="0" i="0" u="none" strike="noStrike" kern="1200" cap="none" spc="0" normalizeH="0" baseline="0" noProof="0">
                <a:ln>
                  <a:noFill/>
                </a:ln>
                <a:solidFill>
                  <a:srgbClr val="000000"/>
                </a:solidFill>
                <a:effectLst/>
                <a:uLnTx/>
                <a:uFillTx/>
                <a:latin typeface="Verdana"/>
                <a:ea typeface="Verdana"/>
                <a:cs typeface="Verdana"/>
                <a:sym typeface="Verdana"/>
              </a:endParaRPr>
            </a:p>
          </p:txBody>
        </p:sp>
        <p:sp>
          <p:nvSpPr>
            <p:cNvPr id="45" name="Oval 53">
              <a:extLst>
                <a:ext uri="{FF2B5EF4-FFF2-40B4-BE49-F238E27FC236}">
                  <a16:creationId xmlns:a16="http://schemas.microsoft.com/office/drawing/2014/main" id="{843F6119-62E5-49B3-B7FD-C86EA3D4BE96}"/>
                </a:ext>
              </a:extLst>
            </p:cNvPr>
            <p:cNvSpPr/>
            <p:nvPr/>
          </p:nvSpPr>
          <p:spPr>
            <a:xfrm rot="10800000" flipH="1">
              <a:off x="2025168" y="2949726"/>
              <a:ext cx="140670" cy="140669"/>
            </a:xfrm>
            <a:prstGeom prst="ellipse">
              <a:avLst/>
            </a:prstGeom>
            <a:solidFill>
              <a:srgbClr val="FFFFFF"/>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solidFill>
                    <a:srgbClr val="FFFFFF"/>
                  </a:solidFill>
                  <a:latin typeface="Verdana"/>
                  <a:ea typeface="Verdana"/>
                  <a:cs typeface="Verdana"/>
                  <a:sym typeface="Verdana"/>
                </a:defRPr>
              </a:pPr>
              <a:endParaRPr kumimoji="0" sz="1300" b="0" i="0" u="none" strike="noStrike" kern="1200" cap="none" spc="0" normalizeH="0" baseline="0" noProof="0">
                <a:ln>
                  <a:noFill/>
                </a:ln>
                <a:solidFill>
                  <a:srgbClr val="FFFFFF"/>
                </a:solidFill>
                <a:effectLst/>
                <a:uLnTx/>
                <a:uFillTx/>
                <a:latin typeface="Verdana"/>
                <a:ea typeface="Verdana"/>
                <a:cs typeface="Verdana"/>
                <a:sym typeface="Verdana"/>
              </a:endParaRPr>
            </a:p>
          </p:txBody>
        </p:sp>
        <p:sp>
          <p:nvSpPr>
            <p:cNvPr id="46" name="Rectangle: Top Corners Rounded 53">
              <a:extLst>
                <a:ext uri="{FF2B5EF4-FFF2-40B4-BE49-F238E27FC236}">
                  <a16:creationId xmlns:a16="http://schemas.microsoft.com/office/drawing/2014/main" id="{BAC7C76F-8382-47CB-B554-E848024B1D7D}"/>
                </a:ext>
              </a:extLst>
            </p:cNvPr>
            <p:cNvSpPr/>
            <p:nvPr/>
          </p:nvSpPr>
          <p:spPr>
            <a:xfrm rot="10800000" flipH="1">
              <a:off x="1085217" y="446130"/>
              <a:ext cx="2174989" cy="124259"/>
            </a:xfrm>
            <a:custGeom>
              <a:avLst/>
              <a:gdLst/>
              <a:ahLst/>
              <a:cxnLst>
                <a:cxn ang="0">
                  <a:pos x="wd2" y="hd2"/>
                </a:cxn>
                <a:cxn ang="5400000">
                  <a:pos x="wd2" y="hd2"/>
                </a:cxn>
                <a:cxn ang="10800000">
                  <a:pos x="wd2" y="hd2"/>
                </a:cxn>
                <a:cxn ang="16200000">
                  <a:pos x="wd2" y="hd2"/>
                </a:cxn>
              </a:cxnLst>
              <a:rect l="0" t="0" r="r" b="b"/>
              <a:pathLst>
                <a:path w="21600" h="21600" extrusionOk="0">
                  <a:moveTo>
                    <a:pt x="617" y="0"/>
                  </a:moveTo>
                  <a:lnTo>
                    <a:pt x="20983" y="0"/>
                  </a:lnTo>
                  <a:cubicBezTo>
                    <a:pt x="21324" y="0"/>
                    <a:pt x="21600" y="4835"/>
                    <a:pt x="21600" y="10800"/>
                  </a:cubicBezTo>
                  <a:lnTo>
                    <a:pt x="21600" y="21600"/>
                  </a:lnTo>
                  <a:lnTo>
                    <a:pt x="0" y="21600"/>
                  </a:lnTo>
                  <a:lnTo>
                    <a:pt x="0" y="10800"/>
                  </a:lnTo>
                  <a:cubicBezTo>
                    <a:pt x="0" y="4835"/>
                    <a:pt x="276" y="0"/>
                    <a:pt x="617" y="0"/>
                  </a:cubicBezTo>
                  <a:close/>
                </a:path>
              </a:pathLst>
            </a:custGeom>
            <a:solidFill>
              <a:srgbClr val="0E80A4"/>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solidFill>
                    <a:srgbClr val="FFFFFF"/>
                  </a:solidFill>
                  <a:latin typeface="Verdana"/>
                  <a:ea typeface="Verdana"/>
                  <a:cs typeface="Verdana"/>
                  <a:sym typeface="Verdana"/>
                </a:defRPr>
              </a:pPr>
              <a:endParaRPr kumimoji="0" sz="1300" b="0" i="0" u="none" strike="noStrike" kern="1200" cap="none" spc="0" normalizeH="0" baseline="0" noProof="0">
                <a:ln>
                  <a:noFill/>
                </a:ln>
                <a:solidFill>
                  <a:srgbClr val="FFFFFF"/>
                </a:solidFill>
                <a:effectLst/>
                <a:uLnTx/>
                <a:uFillTx/>
                <a:latin typeface="Verdana"/>
                <a:ea typeface="Verdana"/>
                <a:cs typeface="Verdana"/>
                <a:sym typeface="Verdana"/>
              </a:endParaRPr>
            </a:p>
          </p:txBody>
        </p:sp>
        <p:sp>
          <p:nvSpPr>
            <p:cNvPr id="47" name="Rectangle: Top Corners Rounded 54">
              <a:extLst>
                <a:ext uri="{FF2B5EF4-FFF2-40B4-BE49-F238E27FC236}">
                  <a16:creationId xmlns:a16="http://schemas.microsoft.com/office/drawing/2014/main" id="{9521EA0B-1376-450D-9181-1C30C634376C}"/>
                </a:ext>
              </a:extLst>
            </p:cNvPr>
            <p:cNvSpPr/>
            <p:nvPr/>
          </p:nvSpPr>
          <p:spPr>
            <a:xfrm rot="10800000" flipH="1">
              <a:off x="1369201" y="562382"/>
              <a:ext cx="1607026" cy="446911"/>
            </a:xfrm>
            <a:custGeom>
              <a:avLst/>
              <a:gdLst/>
              <a:ahLst/>
              <a:cxnLst>
                <a:cxn ang="0">
                  <a:pos x="wd2" y="hd2"/>
                </a:cxn>
                <a:cxn ang="5400000">
                  <a:pos x="wd2" y="hd2"/>
                </a:cxn>
                <a:cxn ang="10800000">
                  <a:pos x="wd2" y="hd2"/>
                </a:cxn>
                <a:cxn ang="16200000">
                  <a:pos x="wd2" y="hd2"/>
                </a:cxn>
              </a:cxnLst>
              <a:rect l="0" t="0" r="r" b="b"/>
              <a:pathLst>
                <a:path w="21600" h="21600" extrusionOk="0">
                  <a:moveTo>
                    <a:pt x="3003" y="0"/>
                  </a:moveTo>
                  <a:lnTo>
                    <a:pt x="18597" y="0"/>
                  </a:lnTo>
                  <a:cubicBezTo>
                    <a:pt x="20255" y="0"/>
                    <a:pt x="21600" y="4835"/>
                    <a:pt x="21600" y="10800"/>
                  </a:cubicBezTo>
                  <a:lnTo>
                    <a:pt x="21600" y="21600"/>
                  </a:lnTo>
                  <a:lnTo>
                    <a:pt x="0" y="21600"/>
                  </a:lnTo>
                  <a:lnTo>
                    <a:pt x="0" y="10800"/>
                  </a:lnTo>
                  <a:cubicBezTo>
                    <a:pt x="0" y="4835"/>
                    <a:pt x="1345" y="0"/>
                    <a:pt x="3003" y="0"/>
                  </a:cubicBezTo>
                  <a:close/>
                </a:path>
              </a:pathLst>
            </a:custGeom>
            <a:solidFill>
              <a:srgbClr val="12ABDB"/>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solidFill>
                    <a:srgbClr val="FFFFFF"/>
                  </a:solidFill>
                  <a:latin typeface="Verdana"/>
                  <a:ea typeface="Verdana"/>
                  <a:cs typeface="Verdana"/>
                  <a:sym typeface="Verdana"/>
                </a:defRPr>
              </a:pPr>
              <a:endParaRPr kumimoji="0" sz="1300" b="0" i="0" u="none" strike="noStrike" kern="1200" cap="none" spc="0" normalizeH="0" baseline="0" noProof="0">
                <a:ln>
                  <a:noFill/>
                </a:ln>
                <a:solidFill>
                  <a:srgbClr val="FFFFFF"/>
                </a:solidFill>
                <a:effectLst/>
                <a:uLnTx/>
                <a:uFillTx/>
                <a:latin typeface="Verdana"/>
                <a:ea typeface="Verdana"/>
                <a:cs typeface="Verdana"/>
                <a:sym typeface="Verdana"/>
              </a:endParaRPr>
            </a:p>
          </p:txBody>
        </p:sp>
        <p:grpSp>
          <p:nvGrpSpPr>
            <p:cNvPr id="48" name="Group 56">
              <a:extLst>
                <a:ext uri="{FF2B5EF4-FFF2-40B4-BE49-F238E27FC236}">
                  <a16:creationId xmlns:a16="http://schemas.microsoft.com/office/drawing/2014/main" id="{FF8912D3-C283-4AF6-9319-CCBDE847FE63}"/>
                </a:ext>
              </a:extLst>
            </p:cNvPr>
            <p:cNvGrpSpPr/>
            <p:nvPr/>
          </p:nvGrpSpPr>
          <p:grpSpPr>
            <a:xfrm>
              <a:off x="2195980" y="373231"/>
              <a:ext cx="2805271" cy="2529178"/>
              <a:chOff x="0" y="0"/>
              <a:chExt cx="2805269" cy="2529177"/>
            </a:xfrm>
          </p:grpSpPr>
          <p:sp>
            <p:nvSpPr>
              <p:cNvPr id="55" name="Freeform: Shape 58">
                <a:extLst>
                  <a:ext uri="{FF2B5EF4-FFF2-40B4-BE49-F238E27FC236}">
                    <a16:creationId xmlns:a16="http://schemas.microsoft.com/office/drawing/2014/main" id="{F1620770-8CF9-46EF-98FE-8474B72A1597}"/>
                  </a:ext>
                </a:extLst>
              </p:cNvPr>
              <p:cNvSpPr/>
              <p:nvPr/>
            </p:nvSpPr>
            <p:spPr>
              <a:xfrm>
                <a:off x="0" y="1182580"/>
                <a:ext cx="1347682" cy="1346598"/>
              </a:xfrm>
              <a:custGeom>
                <a:avLst/>
                <a:gdLst/>
                <a:ahLst/>
                <a:cxnLst>
                  <a:cxn ang="0">
                    <a:pos x="wd2" y="hd2"/>
                  </a:cxn>
                  <a:cxn ang="5400000">
                    <a:pos x="wd2" y="hd2"/>
                  </a:cxn>
                  <a:cxn ang="10800000">
                    <a:pos x="wd2" y="hd2"/>
                  </a:cxn>
                  <a:cxn ang="16200000">
                    <a:pos x="wd2" y="hd2"/>
                  </a:cxn>
                </a:cxnLst>
                <a:rect l="0" t="0" r="r" b="b"/>
                <a:pathLst>
                  <a:path w="21590" h="21596" extrusionOk="0">
                    <a:moveTo>
                      <a:pt x="0" y="11110"/>
                    </a:moveTo>
                    <a:cubicBezTo>
                      <a:pt x="93" y="10935"/>
                      <a:pt x="238" y="10848"/>
                      <a:pt x="423" y="10802"/>
                    </a:cubicBezTo>
                    <a:cubicBezTo>
                      <a:pt x="922" y="10668"/>
                      <a:pt x="1409" y="10517"/>
                      <a:pt x="1908" y="10384"/>
                    </a:cubicBezTo>
                    <a:cubicBezTo>
                      <a:pt x="2210" y="10302"/>
                      <a:pt x="2390" y="10134"/>
                      <a:pt x="2419" y="9815"/>
                    </a:cubicBezTo>
                    <a:cubicBezTo>
                      <a:pt x="2424" y="9733"/>
                      <a:pt x="2436" y="9652"/>
                      <a:pt x="2448" y="9571"/>
                    </a:cubicBezTo>
                    <a:cubicBezTo>
                      <a:pt x="2477" y="9298"/>
                      <a:pt x="2355" y="9112"/>
                      <a:pt x="2129" y="8979"/>
                    </a:cubicBezTo>
                    <a:cubicBezTo>
                      <a:pt x="1676" y="8717"/>
                      <a:pt x="1230" y="8450"/>
                      <a:pt x="783" y="8189"/>
                    </a:cubicBezTo>
                    <a:cubicBezTo>
                      <a:pt x="452" y="7997"/>
                      <a:pt x="394" y="7852"/>
                      <a:pt x="493" y="7481"/>
                    </a:cubicBezTo>
                    <a:cubicBezTo>
                      <a:pt x="505" y="7446"/>
                      <a:pt x="510" y="7411"/>
                      <a:pt x="522" y="7382"/>
                    </a:cubicBezTo>
                    <a:cubicBezTo>
                      <a:pt x="667" y="6900"/>
                      <a:pt x="795" y="6807"/>
                      <a:pt x="1288" y="6853"/>
                    </a:cubicBezTo>
                    <a:cubicBezTo>
                      <a:pt x="1763" y="6900"/>
                      <a:pt x="2239" y="6952"/>
                      <a:pt x="2715" y="7016"/>
                    </a:cubicBezTo>
                    <a:cubicBezTo>
                      <a:pt x="3092" y="7062"/>
                      <a:pt x="3254" y="6999"/>
                      <a:pt x="3445" y="6679"/>
                    </a:cubicBezTo>
                    <a:cubicBezTo>
                      <a:pt x="3718" y="6238"/>
                      <a:pt x="3706" y="6099"/>
                      <a:pt x="3387" y="5686"/>
                    </a:cubicBezTo>
                    <a:cubicBezTo>
                      <a:pt x="3086" y="5297"/>
                      <a:pt x="2790" y="4902"/>
                      <a:pt x="2500" y="4508"/>
                    </a:cubicBezTo>
                    <a:cubicBezTo>
                      <a:pt x="2326" y="4275"/>
                      <a:pt x="2326" y="4084"/>
                      <a:pt x="2500" y="3851"/>
                    </a:cubicBezTo>
                    <a:cubicBezTo>
                      <a:pt x="2587" y="3735"/>
                      <a:pt x="2680" y="3619"/>
                      <a:pt x="2790" y="3526"/>
                    </a:cubicBezTo>
                    <a:cubicBezTo>
                      <a:pt x="3010" y="3341"/>
                      <a:pt x="3161" y="3317"/>
                      <a:pt x="3411" y="3457"/>
                    </a:cubicBezTo>
                    <a:cubicBezTo>
                      <a:pt x="3851" y="3701"/>
                      <a:pt x="4304" y="3927"/>
                      <a:pt x="4727" y="4200"/>
                    </a:cubicBezTo>
                    <a:cubicBezTo>
                      <a:pt x="5214" y="4513"/>
                      <a:pt x="5551" y="4304"/>
                      <a:pt x="5905" y="3869"/>
                    </a:cubicBezTo>
                    <a:cubicBezTo>
                      <a:pt x="6021" y="3724"/>
                      <a:pt x="5980" y="3532"/>
                      <a:pt x="5934" y="3358"/>
                    </a:cubicBezTo>
                    <a:cubicBezTo>
                      <a:pt x="5806" y="2864"/>
                      <a:pt x="5678" y="2371"/>
                      <a:pt x="5551" y="1877"/>
                    </a:cubicBezTo>
                    <a:cubicBezTo>
                      <a:pt x="5458" y="1523"/>
                      <a:pt x="5516" y="1378"/>
                      <a:pt x="5829" y="1192"/>
                    </a:cubicBezTo>
                    <a:cubicBezTo>
                      <a:pt x="5899" y="1151"/>
                      <a:pt x="5968" y="1111"/>
                      <a:pt x="6044" y="1076"/>
                    </a:cubicBezTo>
                    <a:cubicBezTo>
                      <a:pt x="6421" y="902"/>
                      <a:pt x="6589" y="942"/>
                      <a:pt x="6844" y="1273"/>
                    </a:cubicBezTo>
                    <a:cubicBezTo>
                      <a:pt x="7152" y="1662"/>
                      <a:pt x="7459" y="2057"/>
                      <a:pt x="7766" y="2446"/>
                    </a:cubicBezTo>
                    <a:cubicBezTo>
                      <a:pt x="8057" y="2806"/>
                      <a:pt x="8735" y="2806"/>
                      <a:pt x="9025" y="2441"/>
                    </a:cubicBezTo>
                    <a:cubicBezTo>
                      <a:pt x="9147" y="2284"/>
                      <a:pt x="9147" y="2086"/>
                      <a:pt x="9176" y="1906"/>
                    </a:cubicBezTo>
                    <a:cubicBezTo>
                      <a:pt x="9246" y="1453"/>
                      <a:pt x="9304" y="1001"/>
                      <a:pt x="9362" y="548"/>
                    </a:cubicBezTo>
                    <a:cubicBezTo>
                      <a:pt x="9408" y="188"/>
                      <a:pt x="9507" y="89"/>
                      <a:pt x="9866" y="25"/>
                    </a:cubicBezTo>
                    <a:cubicBezTo>
                      <a:pt x="10017" y="-4"/>
                      <a:pt x="10168" y="-4"/>
                      <a:pt x="10319" y="8"/>
                    </a:cubicBezTo>
                    <a:cubicBezTo>
                      <a:pt x="10539" y="19"/>
                      <a:pt x="10690" y="135"/>
                      <a:pt x="10748" y="356"/>
                    </a:cubicBezTo>
                    <a:cubicBezTo>
                      <a:pt x="10887" y="850"/>
                      <a:pt x="11032" y="1349"/>
                      <a:pt x="11171" y="1842"/>
                    </a:cubicBezTo>
                    <a:cubicBezTo>
                      <a:pt x="11316" y="2348"/>
                      <a:pt x="11734" y="2586"/>
                      <a:pt x="12250" y="2452"/>
                    </a:cubicBezTo>
                    <a:cubicBezTo>
                      <a:pt x="12418" y="2411"/>
                      <a:pt x="12517" y="2290"/>
                      <a:pt x="12598" y="2150"/>
                    </a:cubicBezTo>
                    <a:cubicBezTo>
                      <a:pt x="12865" y="1691"/>
                      <a:pt x="13137" y="1233"/>
                      <a:pt x="13410" y="774"/>
                    </a:cubicBezTo>
                    <a:cubicBezTo>
                      <a:pt x="13584" y="478"/>
                      <a:pt x="13735" y="414"/>
                      <a:pt x="14066" y="501"/>
                    </a:cubicBezTo>
                    <a:cubicBezTo>
                      <a:pt x="14727" y="670"/>
                      <a:pt x="14814" y="815"/>
                      <a:pt x="14715" y="1552"/>
                    </a:cubicBezTo>
                    <a:cubicBezTo>
                      <a:pt x="14657" y="1993"/>
                      <a:pt x="14605" y="2435"/>
                      <a:pt x="14553" y="2876"/>
                    </a:cubicBezTo>
                    <a:cubicBezTo>
                      <a:pt x="14547" y="2922"/>
                      <a:pt x="14547" y="2969"/>
                      <a:pt x="14553" y="3015"/>
                    </a:cubicBezTo>
                    <a:cubicBezTo>
                      <a:pt x="14628" y="3486"/>
                      <a:pt x="15342" y="3811"/>
                      <a:pt x="15730" y="3538"/>
                    </a:cubicBezTo>
                    <a:cubicBezTo>
                      <a:pt x="16171" y="3224"/>
                      <a:pt x="16594" y="2893"/>
                      <a:pt x="17024" y="2568"/>
                    </a:cubicBezTo>
                    <a:cubicBezTo>
                      <a:pt x="17337" y="2330"/>
                      <a:pt x="17493" y="2336"/>
                      <a:pt x="17807" y="2580"/>
                    </a:cubicBezTo>
                    <a:cubicBezTo>
                      <a:pt x="17847" y="2615"/>
                      <a:pt x="17888" y="2644"/>
                      <a:pt x="17928" y="2684"/>
                    </a:cubicBezTo>
                    <a:cubicBezTo>
                      <a:pt x="18294" y="3033"/>
                      <a:pt x="18311" y="3137"/>
                      <a:pt x="18062" y="3579"/>
                    </a:cubicBezTo>
                    <a:cubicBezTo>
                      <a:pt x="17824" y="4002"/>
                      <a:pt x="17598" y="4432"/>
                      <a:pt x="17348" y="4850"/>
                    </a:cubicBezTo>
                    <a:cubicBezTo>
                      <a:pt x="17169" y="5158"/>
                      <a:pt x="17250" y="5413"/>
                      <a:pt x="17447" y="5675"/>
                    </a:cubicBezTo>
                    <a:cubicBezTo>
                      <a:pt x="17644" y="5936"/>
                      <a:pt x="17870" y="6064"/>
                      <a:pt x="18201" y="5977"/>
                    </a:cubicBezTo>
                    <a:cubicBezTo>
                      <a:pt x="18711" y="5843"/>
                      <a:pt x="19222" y="5715"/>
                      <a:pt x="19727" y="5576"/>
                    </a:cubicBezTo>
                    <a:cubicBezTo>
                      <a:pt x="20051" y="5489"/>
                      <a:pt x="20196" y="5541"/>
                      <a:pt x="20376" y="5826"/>
                    </a:cubicBezTo>
                    <a:cubicBezTo>
                      <a:pt x="20457" y="5948"/>
                      <a:pt x="20527" y="6075"/>
                      <a:pt x="20573" y="6215"/>
                    </a:cubicBezTo>
                    <a:cubicBezTo>
                      <a:pt x="20660" y="6464"/>
                      <a:pt x="20620" y="6621"/>
                      <a:pt x="20411" y="6790"/>
                    </a:cubicBezTo>
                    <a:cubicBezTo>
                      <a:pt x="19976" y="7138"/>
                      <a:pt x="19547" y="7486"/>
                      <a:pt x="19106" y="7829"/>
                    </a:cubicBezTo>
                    <a:cubicBezTo>
                      <a:pt x="18885" y="7997"/>
                      <a:pt x="18827" y="8206"/>
                      <a:pt x="18874" y="8462"/>
                    </a:cubicBezTo>
                    <a:cubicBezTo>
                      <a:pt x="18891" y="8549"/>
                      <a:pt x="18920" y="8630"/>
                      <a:pt x="18943" y="8717"/>
                    </a:cubicBezTo>
                    <a:cubicBezTo>
                      <a:pt x="19019" y="8990"/>
                      <a:pt x="19199" y="9141"/>
                      <a:pt x="19477" y="9176"/>
                    </a:cubicBezTo>
                    <a:cubicBezTo>
                      <a:pt x="20005" y="9246"/>
                      <a:pt x="20533" y="9321"/>
                      <a:pt x="21055" y="9391"/>
                    </a:cubicBezTo>
                    <a:cubicBezTo>
                      <a:pt x="21368" y="9431"/>
                      <a:pt x="21530" y="9582"/>
                      <a:pt x="21565" y="9896"/>
                    </a:cubicBezTo>
                    <a:cubicBezTo>
                      <a:pt x="21583" y="10047"/>
                      <a:pt x="21600" y="10198"/>
                      <a:pt x="21583" y="10349"/>
                    </a:cubicBezTo>
                    <a:cubicBezTo>
                      <a:pt x="21554" y="10587"/>
                      <a:pt x="21432" y="10721"/>
                      <a:pt x="21211" y="10784"/>
                    </a:cubicBezTo>
                    <a:cubicBezTo>
                      <a:pt x="20718" y="10924"/>
                      <a:pt x="20220" y="11063"/>
                      <a:pt x="19727" y="11208"/>
                    </a:cubicBezTo>
                    <a:cubicBezTo>
                      <a:pt x="19245" y="11348"/>
                      <a:pt x="19025" y="11713"/>
                      <a:pt x="19123" y="12213"/>
                    </a:cubicBezTo>
                    <a:cubicBezTo>
                      <a:pt x="19158" y="12404"/>
                      <a:pt x="19268" y="12526"/>
                      <a:pt x="19431" y="12619"/>
                    </a:cubicBezTo>
                    <a:cubicBezTo>
                      <a:pt x="19883" y="12886"/>
                      <a:pt x="20336" y="13153"/>
                      <a:pt x="20794" y="13421"/>
                    </a:cubicBezTo>
                    <a:cubicBezTo>
                      <a:pt x="21130" y="13618"/>
                      <a:pt x="21182" y="13734"/>
                      <a:pt x="21090" y="14111"/>
                    </a:cubicBezTo>
                    <a:cubicBezTo>
                      <a:pt x="21084" y="14135"/>
                      <a:pt x="21084" y="14158"/>
                      <a:pt x="21078" y="14181"/>
                    </a:cubicBezTo>
                    <a:cubicBezTo>
                      <a:pt x="20939" y="14640"/>
                      <a:pt x="20782" y="14866"/>
                      <a:pt x="20260" y="14768"/>
                    </a:cubicBezTo>
                    <a:cubicBezTo>
                      <a:pt x="19790" y="14675"/>
                      <a:pt x="19309" y="14657"/>
                      <a:pt x="18833" y="14588"/>
                    </a:cubicBezTo>
                    <a:cubicBezTo>
                      <a:pt x="18497" y="14541"/>
                      <a:pt x="18276" y="14675"/>
                      <a:pt x="18114" y="14959"/>
                    </a:cubicBezTo>
                    <a:cubicBezTo>
                      <a:pt x="17946" y="15250"/>
                      <a:pt x="17870" y="15522"/>
                      <a:pt x="18102" y="15819"/>
                    </a:cubicBezTo>
                    <a:cubicBezTo>
                      <a:pt x="18416" y="16219"/>
                      <a:pt x="18717" y="16631"/>
                      <a:pt x="19025" y="17038"/>
                    </a:cubicBezTo>
                    <a:cubicBezTo>
                      <a:pt x="19280" y="17369"/>
                      <a:pt x="19280" y="17502"/>
                      <a:pt x="19025" y="17833"/>
                    </a:cubicBezTo>
                    <a:cubicBezTo>
                      <a:pt x="19013" y="17845"/>
                      <a:pt x="19002" y="17862"/>
                      <a:pt x="18990" y="17874"/>
                    </a:cubicBezTo>
                    <a:cubicBezTo>
                      <a:pt x="18653" y="18234"/>
                      <a:pt x="18520" y="18391"/>
                      <a:pt x="17992" y="18071"/>
                    </a:cubicBezTo>
                    <a:cubicBezTo>
                      <a:pt x="17586" y="17828"/>
                      <a:pt x="17157" y="17619"/>
                      <a:pt x="16757" y="17375"/>
                    </a:cubicBezTo>
                    <a:cubicBezTo>
                      <a:pt x="16426" y="17177"/>
                      <a:pt x="16171" y="17293"/>
                      <a:pt x="15910" y="17497"/>
                    </a:cubicBezTo>
                    <a:cubicBezTo>
                      <a:pt x="15649" y="17694"/>
                      <a:pt x="15545" y="17932"/>
                      <a:pt x="15637" y="18263"/>
                    </a:cubicBezTo>
                    <a:cubicBezTo>
                      <a:pt x="15782" y="18774"/>
                      <a:pt x="15910" y="19291"/>
                      <a:pt x="16038" y="19808"/>
                    </a:cubicBezTo>
                    <a:cubicBezTo>
                      <a:pt x="16107" y="20086"/>
                      <a:pt x="16049" y="20237"/>
                      <a:pt x="15811" y="20388"/>
                    </a:cubicBezTo>
                    <a:cubicBezTo>
                      <a:pt x="15684" y="20470"/>
                      <a:pt x="15550" y="20545"/>
                      <a:pt x="15405" y="20597"/>
                    </a:cubicBezTo>
                    <a:cubicBezTo>
                      <a:pt x="15150" y="20690"/>
                      <a:pt x="14965" y="20644"/>
                      <a:pt x="14796" y="20429"/>
                    </a:cubicBezTo>
                    <a:cubicBezTo>
                      <a:pt x="14477" y="20028"/>
                      <a:pt x="14158" y="19622"/>
                      <a:pt x="13839" y="19215"/>
                    </a:cubicBezTo>
                    <a:cubicBezTo>
                      <a:pt x="13532" y="18832"/>
                      <a:pt x="12975" y="18780"/>
                      <a:pt x="12604" y="19111"/>
                    </a:cubicBezTo>
                    <a:cubicBezTo>
                      <a:pt x="12505" y="19198"/>
                      <a:pt x="12459" y="19308"/>
                      <a:pt x="12441" y="19436"/>
                    </a:cubicBezTo>
                    <a:cubicBezTo>
                      <a:pt x="12366" y="19970"/>
                      <a:pt x="12279" y="20499"/>
                      <a:pt x="12221" y="21033"/>
                    </a:cubicBezTo>
                    <a:cubicBezTo>
                      <a:pt x="12186" y="21311"/>
                      <a:pt x="12076" y="21509"/>
                      <a:pt x="11803" y="21596"/>
                    </a:cubicBezTo>
                    <a:cubicBezTo>
                      <a:pt x="11571" y="21596"/>
                      <a:pt x="11334" y="21596"/>
                      <a:pt x="11102" y="21596"/>
                    </a:cubicBezTo>
                    <a:cubicBezTo>
                      <a:pt x="10939" y="21497"/>
                      <a:pt x="10846" y="21352"/>
                      <a:pt x="10794" y="21166"/>
                    </a:cubicBezTo>
                    <a:cubicBezTo>
                      <a:pt x="10655" y="20655"/>
                      <a:pt x="10498" y="20144"/>
                      <a:pt x="10359" y="19628"/>
                    </a:cubicBezTo>
                    <a:cubicBezTo>
                      <a:pt x="10284" y="19355"/>
                      <a:pt x="10116" y="19210"/>
                      <a:pt x="9843" y="19175"/>
                    </a:cubicBezTo>
                    <a:cubicBezTo>
                      <a:pt x="9739" y="19163"/>
                      <a:pt x="9634" y="19146"/>
                      <a:pt x="9530" y="19140"/>
                    </a:cubicBezTo>
                    <a:cubicBezTo>
                      <a:pt x="9286" y="19122"/>
                      <a:pt x="9118" y="19233"/>
                      <a:pt x="8996" y="19436"/>
                    </a:cubicBezTo>
                    <a:cubicBezTo>
                      <a:pt x="8950" y="19511"/>
                      <a:pt x="8909" y="19587"/>
                      <a:pt x="8863" y="19662"/>
                    </a:cubicBezTo>
                    <a:cubicBezTo>
                      <a:pt x="8619" y="20075"/>
                      <a:pt x="8381" y="20493"/>
                      <a:pt x="8132" y="20899"/>
                    </a:cubicBezTo>
                    <a:cubicBezTo>
                      <a:pt x="7998" y="21126"/>
                      <a:pt x="7836" y="21184"/>
                      <a:pt x="7581" y="21126"/>
                    </a:cubicBezTo>
                    <a:cubicBezTo>
                      <a:pt x="7424" y="21091"/>
                      <a:pt x="7279" y="21039"/>
                      <a:pt x="7134" y="20975"/>
                    </a:cubicBezTo>
                    <a:cubicBezTo>
                      <a:pt x="6879" y="20853"/>
                      <a:pt x="6798" y="20696"/>
                      <a:pt x="6833" y="20411"/>
                    </a:cubicBezTo>
                    <a:cubicBezTo>
                      <a:pt x="6896" y="19883"/>
                      <a:pt x="6949" y="19355"/>
                      <a:pt x="7024" y="18826"/>
                    </a:cubicBezTo>
                    <a:cubicBezTo>
                      <a:pt x="7076" y="18455"/>
                      <a:pt x="6879" y="18251"/>
                      <a:pt x="6589" y="18089"/>
                    </a:cubicBezTo>
                    <a:cubicBezTo>
                      <a:pt x="6305" y="17932"/>
                      <a:pt x="6050" y="17909"/>
                      <a:pt x="5783" y="18130"/>
                    </a:cubicBezTo>
                    <a:cubicBezTo>
                      <a:pt x="5412" y="18426"/>
                      <a:pt x="5023" y="18699"/>
                      <a:pt x="4652" y="18989"/>
                    </a:cubicBezTo>
                    <a:cubicBezTo>
                      <a:pt x="4275" y="19285"/>
                      <a:pt x="4112" y="19349"/>
                      <a:pt x="3648" y="18931"/>
                    </a:cubicBezTo>
                    <a:cubicBezTo>
                      <a:pt x="3619" y="18902"/>
                      <a:pt x="3590" y="18873"/>
                      <a:pt x="3561" y="18844"/>
                    </a:cubicBezTo>
                    <a:cubicBezTo>
                      <a:pt x="3335" y="18611"/>
                      <a:pt x="3312" y="18431"/>
                      <a:pt x="3474" y="18147"/>
                    </a:cubicBezTo>
                    <a:cubicBezTo>
                      <a:pt x="3724" y="17700"/>
                      <a:pt x="3979" y="17247"/>
                      <a:pt x="4228" y="16800"/>
                    </a:cubicBezTo>
                    <a:cubicBezTo>
                      <a:pt x="4298" y="16672"/>
                      <a:pt x="4373" y="16544"/>
                      <a:pt x="4356" y="16388"/>
                    </a:cubicBezTo>
                    <a:cubicBezTo>
                      <a:pt x="4315" y="15917"/>
                      <a:pt x="3793" y="15546"/>
                      <a:pt x="3341" y="15662"/>
                    </a:cubicBezTo>
                    <a:cubicBezTo>
                      <a:pt x="2819" y="15795"/>
                      <a:pt x="2297" y="15929"/>
                      <a:pt x="1781" y="16068"/>
                    </a:cubicBezTo>
                    <a:cubicBezTo>
                      <a:pt x="1572" y="16126"/>
                      <a:pt x="1415" y="16062"/>
                      <a:pt x="1282" y="15900"/>
                    </a:cubicBezTo>
                    <a:cubicBezTo>
                      <a:pt x="1172" y="15766"/>
                      <a:pt x="1102" y="15615"/>
                      <a:pt x="1032" y="15459"/>
                    </a:cubicBezTo>
                    <a:cubicBezTo>
                      <a:pt x="916" y="15186"/>
                      <a:pt x="969" y="14988"/>
                      <a:pt x="1201" y="14808"/>
                    </a:cubicBezTo>
                    <a:cubicBezTo>
                      <a:pt x="1583" y="14501"/>
                      <a:pt x="1972" y="14199"/>
                      <a:pt x="2355" y="13891"/>
                    </a:cubicBezTo>
                    <a:cubicBezTo>
                      <a:pt x="2761" y="13577"/>
                      <a:pt x="2796" y="13444"/>
                      <a:pt x="2662" y="12956"/>
                    </a:cubicBezTo>
                    <a:cubicBezTo>
                      <a:pt x="2569" y="12637"/>
                      <a:pt x="2378" y="12468"/>
                      <a:pt x="2042" y="12433"/>
                    </a:cubicBezTo>
                    <a:cubicBezTo>
                      <a:pt x="1554" y="12381"/>
                      <a:pt x="1073" y="12288"/>
                      <a:pt x="586" y="12236"/>
                    </a:cubicBezTo>
                    <a:cubicBezTo>
                      <a:pt x="307" y="12207"/>
                      <a:pt x="110" y="12097"/>
                      <a:pt x="12" y="11830"/>
                    </a:cubicBezTo>
                    <a:cubicBezTo>
                      <a:pt x="0" y="11580"/>
                      <a:pt x="0" y="11348"/>
                      <a:pt x="0" y="11110"/>
                    </a:cubicBezTo>
                    <a:close/>
                    <a:moveTo>
                      <a:pt x="13474" y="10813"/>
                    </a:moveTo>
                    <a:cubicBezTo>
                      <a:pt x="13491" y="9437"/>
                      <a:pt x="12412" y="8108"/>
                      <a:pt x="10777" y="8113"/>
                    </a:cubicBezTo>
                    <a:cubicBezTo>
                      <a:pt x="9263" y="8119"/>
                      <a:pt x="8103" y="9275"/>
                      <a:pt x="8097" y="10796"/>
                    </a:cubicBezTo>
                    <a:cubicBezTo>
                      <a:pt x="8091" y="12341"/>
                      <a:pt x="9304" y="13479"/>
                      <a:pt x="10765" y="13490"/>
                    </a:cubicBezTo>
                    <a:cubicBezTo>
                      <a:pt x="12262" y="13502"/>
                      <a:pt x="13468" y="12300"/>
                      <a:pt x="13474" y="10813"/>
                    </a:cubicBezTo>
                    <a:close/>
                  </a:path>
                </a:pathLst>
              </a:custGeom>
              <a:solidFill>
                <a:srgbClr val="FFFFFF">
                  <a:alpha val="10000"/>
                </a:srgbClr>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latin typeface="Verdana"/>
                    <a:ea typeface="Verdana"/>
                    <a:cs typeface="Verdana"/>
                    <a:sym typeface="Verdana"/>
                  </a:defRPr>
                </a:pPr>
                <a:endParaRPr kumimoji="0" sz="1300" b="0" i="0" u="none" strike="noStrike" kern="1200" cap="none" spc="0" normalizeH="0" baseline="0" noProof="0">
                  <a:ln>
                    <a:noFill/>
                  </a:ln>
                  <a:solidFill>
                    <a:srgbClr val="000000"/>
                  </a:solidFill>
                  <a:effectLst/>
                  <a:uLnTx/>
                  <a:uFillTx/>
                  <a:latin typeface="Verdana"/>
                  <a:ea typeface="Verdana"/>
                  <a:cs typeface="Verdana"/>
                  <a:sym typeface="Verdana"/>
                </a:endParaRPr>
              </a:p>
            </p:txBody>
          </p:sp>
          <p:grpSp>
            <p:nvGrpSpPr>
              <p:cNvPr id="56" name="Group 58">
                <a:extLst>
                  <a:ext uri="{FF2B5EF4-FFF2-40B4-BE49-F238E27FC236}">
                    <a16:creationId xmlns:a16="http://schemas.microsoft.com/office/drawing/2014/main" id="{653F26A6-FCE0-47FA-8F18-3CE05C0708E0}"/>
                  </a:ext>
                </a:extLst>
              </p:cNvPr>
              <p:cNvGrpSpPr/>
              <p:nvPr/>
            </p:nvGrpSpPr>
            <p:grpSpPr>
              <a:xfrm>
                <a:off x="926101" y="0"/>
                <a:ext cx="1879169" cy="1877941"/>
                <a:chOff x="0" y="0"/>
                <a:chExt cx="1879168" cy="1877940"/>
              </a:xfrm>
            </p:grpSpPr>
            <p:sp>
              <p:nvSpPr>
                <p:cNvPr id="57" name="Freeform: Shape 60">
                  <a:extLst>
                    <a:ext uri="{FF2B5EF4-FFF2-40B4-BE49-F238E27FC236}">
                      <a16:creationId xmlns:a16="http://schemas.microsoft.com/office/drawing/2014/main" id="{EA3A6349-B4EC-4C7A-9F32-A3E0C9AE623B}"/>
                    </a:ext>
                  </a:extLst>
                </p:cNvPr>
                <p:cNvSpPr/>
                <p:nvPr/>
              </p:nvSpPr>
              <p:spPr>
                <a:xfrm>
                  <a:off x="-1" y="-1"/>
                  <a:ext cx="1879170" cy="1877942"/>
                </a:xfrm>
                <a:custGeom>
                  <a:avLst/>
                  <a:gdLst/>
                  <a:ahLst/>
                  <a:cxnLst>
                    <a:cxn ang="0">
                      <a:pos x="wd2" y="hd2"/>
                    </a:cxn>
                    <a:cxn ang="5400000">
                      <a:pos x="wd2" y="hd2"/>
                    </a:cxn>
                    <a:cxn ang="10800000">
                      <a:pos x="wd2" y="hd2"/>
                    </a:cxn>
                    <a:cxn ang="16200000">
                      <a:pos x="wd2" y="hd2"/>
                    </a:cxn>
                  </a:cxnLst>
                  <a:rect l="0" t="0" r="r" b="b"/>
                  <a:pathLst>
                    <a:path w="21563" h="21541" extrusionOk="0">
                      <a:moveTo>
                        <a:pt x="20441" y="15273"/>
                      </a:moveTo>
                      <a:cubicBezTo>
                        <a:pt x="20221" y="15223"/>
                        <a:pt x="20001" y="15173"/>
                        <a:pt x="19780" y="15128"/>
                      </a:cubicBezTo>
                      <a:cubicBezTo>
                        <a:pt x="19602" y="15086"/>
                        <a:pt x="19419" y="15049"/>
                        <a:pt x="19240" y="15003"/>
                      </a:cubicBezTo>
                      <a:cubicBezTo>
                        <a:pt x="19124" y="14974"/>
                        <a:pt x="19033" y="15007"/>
                        <a:pt x="18958" y="15090"/>
                      </a:cubicBezTo>
                      <a:cubicBezTo>
                        <a:pt x="18804" y="15269"/>
                        <a:pt x="18684" y="15472"/>
                        <a:pt x="18617" y="15701"/>
                      </a:cubicBezTo>
                      <a:cubicBezTo>
                        <a:pt x="18584" y="15809"/>
                        <a:pt x="18634" y="15888"/>
                        <a:pt x="18700" y="15962"/>
                      </a:cubicBezTo>
                      <a:cubicBezTo>
                        <a:pt x="18941" y="16224"/>
                        <a:pt x="19186" y="16486"/>
                        <a:pt x="19427" y="16743"/>
                      </a:cubicBezTo>
                      <a:cubicBezTo>
                        <a:pt x="19610" y="16938"/>
                        <a:pt x="19618" y="17055"/>
                        <a:pt x="19473" y="17279"/>
                      </a:cubicBezTo>
                      <a:cubicBezTo>
                        <a:pt x="19465" y="17291"/>
                        <a:pt x="19456" y="17308"/>
                        <a:pt x="19444" y="17320"/>
                      </a:cubicBezTo>
                      <a:cubicBezTo>
                        <a:pt x="19170" y="17690"/>
                        <a:pt x="19049" y="17694"/>
                        <a:pt x="18713" y="17503"/>
                      </a:cubicBezTo>
                      <a:cubicBezTo>
                        <a:pt x="18439" y="17345"/>
                        <a:pt x="18148" y="17204"/>
                        <a:pt x="17869" y="17055"/>
                      </a:cubicBezTo>
                      <a:cubicBezTo>
                        <a:pt x="17753" y="16992"/>
                        <a:pt x="17645" y="16992"/>
                        <a:pt x="17541" y="17067"/>
                      </a:cubicBezTo>
                      <a:cubicBezTo>
                        <a:pt x="17375" y="17183"/>
                        <a:pt x="17234" y="17325"/>
                        <a:pt x="17113" y="17487"/>
                      </a:cubicBezTo>
                      <a:cubicBezTo>
                        <a:pt x="17026" y="17603"/>
                        <a:pt x="17022" y="17719"/>
                        <a:pt x="17092" y="17848"/>
                      </a:cubicBezTo>
                      <a:cubicBezTo>
                        <a:pt x="17263" y="18159"/>
                        <a:pt x="17429" y="18475"/>
                        <a:pt x="17591" y="18791"/>
                      </a:cubicBezTo>
                      <a:cubicBezTo>
                        <a:pt x="17703" y="19011"/>
                        <a:pt x="17687" y="19110"/>
                        <a:pt x="17508" y="19281"/>
                      </a:cubicBezTo>
                      <a:cubicBezTo>
                        <a:pt x="17479" y="19306"/>
                        <a:pt x="17454" y="19335"/>
                        <a:pt x="17425" y="19355"/>
                      </a:cubicBezTo>
                      <a:cubicBezTo>
                        <a:pt x="17159" y="19551"/>
                        <a:pt x="17022" y="19646"/>
                        <a:pt x="16710" y="19331"/>
                      </a:cubicBezTo>
                      <a:cubicBezTo>
                        <a:pt x="16486" y="19102"/>
                        <a:pt x="16245" y="18899"/>
                        <a:pt x="16012" y="18678"/>
                      </a:cubicBezTo>
                      <a:cubicBezTo>
                        <a:pt x="15904" y="18575"/>
                        <a:pt x="15788" y="18554"/>
                        <a:pt x="15655" y="18608"/>
                      </a:cubicBezTo>
                      <a:cubicBezTo>
                        <a:pt x="15480" y="18678"/>
                        <a:pt x="15314" y="18770"/>
                        <a:pt x="15165" y="18886"/>
                      </a:cubicBezTo>
                      <a:cubicBezTo>
                        <a:pt x="15040" y="18982"/>
                        <a:pt x="15007" y="19102"/>
                        <a:pt x="15044" y="19252"/>
                      </a:cubicBezTo>
                      <a:cubicBezTo>
                        <a:pt x="15131" y="19613"/>
                        <a:pt x="15215" y="19978"/>
                        <a:pt x="15293" y="20340"/>
                      </a:cubicBezTo>
                      <a:cubicBezTo>
                        <a:pt x="15327" y="20498"/>
                        <a:pt x="15273" y="20618"/>
                        <a:pt x="15131" y="20701"/>
                      </a:cubicBezTo>
                      <a:cubicBezTo>
                        <a:pt x="15036" y="20759"/>
                        <a:pt x="14932" y="20805"/>
                        <a:pt x="14824" y="20838"/>
                      </a:cubicBezTo>
                      <a:cubicBezTo>
                        <a:pt x="14604" y="20909"/>
                        <a:pt x="14479" y="20867"/>
                        <a:pt x="14355" y="20672"/>
                      </a:cubicBezTo>
                      <a:cubicBezTo>
                        <a:pt x="14172" y="20381"/>
                        <a:pt x="13985" y="20095"/>
                        <a:pt x="13810" y="19796"/>
                      </a:cubicBezTo>
                      <a:cubicBezTo>
                        <a:pt x="13715" y="19634"/>
                        <a:pt x="13590" y="19571"/>
                        <a:pt x="13403" y="19605"/>
                      </a:cubicBezTo>
                      <a:cubicBezTo>
                        <a:pt x="13254" y="19634"/>
                        <a:pt x="13108" y="19671"/>
                        <a:pt x="12967" y="19721"/>
                      </a:cubicBezTo>
                      <a:cubicBezTo>
                        <a:pt x="12772" y="19791"/>
                        <a:pt x="12709" y="19875"/>
                        <a:pt x="12701" y="20082"/>
                      </a:cubicBezTo>
                      <a:cubicBezTo>
                        <a:pt x="12689" y="20410"/>
                        <a:pt x="12680" y="20734"/>
                        <a:pt x="12672" y="21062"/>
                      </a:cubicBezTo>
                      <a:cubicBezTo>
                        <a:pt x="12664" y="21361"/>
                        <a:pt x="12589" y="21457"/>
                        <a:pt x="12294" y="21511"/>
                      </a:cubicBezTo>
                      <a:cubicBezTo>
                        <a:pt x="12215" y="21527"/>
                        <a:pt x="12136" y="21536"/>
                        <a:pt x="12057" y="21540"/>
                      </a:cubicBezTo>
                      <a:cubicBezTo>
                        <a:pt x="11862" y="21552"/>
                        <a:pt x="11737" y="21473"/>
                        <a:pt x="11675" y="21282"/>
                      </a:cubicBezTo>
                      <a:cubicBezTo>
                        <a:pt x="11563" y="20934"/>
                        <a:pt x="11455" y="20589"/>
                        <a:pt x="11355" y="20240"/>
                      </a:cubicBezTo>
                      <a:cubicBezTo>
                        <a:pt x="11309" y="20082"/>
                        <a:pt x="11214" y="20007"/>
                        <a:pt x="11056" y="19983"/>
                      </a:cubicBezTo>
                      <a:cubicBezTo>
                        <a:pt x="10873" y="19958"/>
                        <a:pt x="10690" y="19958"/>
                        <a:pt x="10507" y="19987"/>
                      </a:cubicBezTo>
                      <a:cubicBezTo>
                        <a:pt x="10370" y="20007"/>
                        <a:pt x="10283" y="20078"/>
                        <a:pt x="10241" y="20215"/>
                      </a:cubicBezTo>
                      <a:cubicBezTo>
                        <a:pt x="10146" y="20543"/>
                        <a:pt x="10042" y="20871"/>
                        <a:pt x="9938" y="21199"/>
                      </a:cubicBezTo>
                      <a:cubicBezTo>
                        <a:pt x="9847" y="21494"/>
                        <a:pt x="9730" y="21569"/>
                        <a:pt x="9427" y="21527"/>
                      </a:cubicBezTo>
                      <a:cubicBezTo>
                        <a:pt x="8970" y="21465"/>
                        <a:pt x="8916" y="21403"/>
                        <a:pt x="8912" y="20946"/>
                      </a:cubicBezTo>
                      <a:cubicBezTo>
                        <a:pt x="8908" y="20647"/>
                        <a:pt x="8895" y="20352"/>
                        <a:pt x="8887" y="20053"/>
                      </a:cubicBezTo>
                      <a:cubicBezTo>
                        <a:pt x="8883" y="19916"/>
                        <a:pt x="8829" y="19808"/>
                        <a:pt x="8700" y="19754"/>
                      </a:cubicBezTo>
                      <a:cubicBezTo>
                        <a:pt x="8505" y="19671"/>
                        <a:pt x="8305" y="19613"/>
                        <a:pt x="8093" y="19600"/>
                      </a:cubicBezTo>
                      <a:cubicBezTo>
                        <a:pt x="7965" y="19592"/>
                        <a:pt x="7873" y="19642"/>
                        <a:pt x="7803" y="19754"/>
                      </a:cubicBezTo>
                      <a:cubicBezTo>
                        <a:pt x="7624" y="20053"/>
                        <a:pt x="7433" y="20344"/>
                        <a:pt x="7250" y="20639"/>
                      </a:cubicBezTo>
                      <a:cubicBezTo>
                        <a:pt x="7105" y="20871"/>
                        <a:pt x="6993" y="20913"/>
                        <a:pt x="6735" y="20826"/>
                      </a:cubicBezTo>
                      <a:cubicBezTo>
                        <a:pt x="6722" y="20821"/>
                        <a:pt x="6710" y="20817"/>
                        <a:pt x="6698" y="20813"/>
                      </a:cubicBezTo>
                      <a:cubicBezTo>
                        <a:pt x="6299" y="20651"/>
                        <a:pt x="6220" y="20560"/>
                        <a:pt x="6324" y="20161"/>
                      </a:cubicBezTo>
                      <a:cubicBezTo>
                        <a:pt x="6403" y="19858"/>
                        <a:pt x="6461" y="19551"/>
                        <a:pt x="6535" y="19243"/>
                      </a:cubicBezTo>
                      <a:cubicBezTo>
                        <a:pt x="6573" y="19085"/>
                        <a:pt x="6531" y="18965"/>
                        <a:pt x="6398" y="18870"/>
                      </a:cubicBezTo>
                      <a:cubicBezTo>
                        <a:pt x="6257" y="18770"/>
                        <a:pt x="6112" y="18683"/>
                        <a:pt x="5954" y="18612"/>
                      </a:cubicBezTo>
                      <a:cubicBezTo>
                        <a:pt x="5804" y="18546"/>
                        <a:pt x="5675" y="18570"/>
                        <a:pt x="5551" y="18687"/>
                      </a:cubicBezTo>
                      <a:cubicBezTo>
                        <a:pt x="5302" y="18924"/>
                        <a:pt x="5048" y="19156"/>
                        <a:pt x="4799" y="19389"/>
                      </a:cubicBezTo>
                      <a:cubicBezTo>
                        <a:pt x="4612" y="19567"/>
                        <a:pt x="4491" y="19576"/>
                        <a:pt x="4271" y="19438"/>
                      </a:cubicBezTo>
                      <a:cubicBezTo>
                        <a:pt x="4246" y="19422"/>
                        <a:pt x="4221" y="19405"/>
                        <a:pt x="4196" y="19389"/>
                      </a:cubicBezTo>
                      <a:cubicBezTo>
                        <a:pt x="3877" y="19160"/>
                        <a:pt x="3847" y="19040"/>
                        <a:pt x="4030" y="18695"/>
                      </a:cubicBezTo>
                      <a:cubicBezTo>
                        <a:pt x="4180" y="18413"/>
                        <a:pt x="4325" y="18130"/>
                        <a:pt x="4479" y="17852"/>
                      </a:cubicBezTo>
                      <a:cubicBezTo>
                        <a:pt x="4558" y="17707"/>
                        <a:pt x="4545" y="17582"/>
                        <a:pt x="4446" y="17457"/>
                      </a:cubicBezTo>
                      <a:cubicBezTo>
                        <a:pt x="4338" y="17320"/>
                        <a:pt x="4213" y="17196"/>
                        <a:pt x="4072" y="17088"/>
                      </a:cubicBezTo>
                      <a:cubicBezTo>
                        <a:pt x="3947" y="16992"/>
                        <a:pt x="3823" y="16984"/>
                        <a:pt x="3685" y="17059"/>
                      </a:cubicBezTo>
                      <a:cubicBezTo>
                        <a:pt x="3378" y="17225"/>
                        <a:pt x="3066" y="17391"/>
                        <a:pt x="2751" y="17553"/>
                      </a:cubicBezTo>
                      <a:cubicBezTo>
                        <a:pt x="2530" y="17669"/>
                        <a:pt x="2402" y="17640"/>
                        <a:pt x="2240" y="17457"/>
                      </a:cubicBezTo>
                      <a:cubicBezTo>
                        <a:pt x="2227" y="17445"/>
                        <a:pt x="2219" y="17433"/>
                        <a:pt x="2206" y="17420"/>
                      </a:cubicBezTo>
                      <a:cubicBezTo>
                        <a:pt x="1920" y="17088"/>
                        <a:pt x="1924" y="16972"/>
                        <a:pt x="2227" y="16656"/>
                      </a:cubicBezTo>
                      <a:cubicBezTo>
                        <a:pt x="2439" y="16432"/>
                        <a:pt x="2638" y="16203"/>
                        <a:pt x="2854" y="15987"/>
                      </a:cubicBezTo>
                      <a:cubicBezTo>
                        <a:pt x="2963" y="15875"/>
                        <a:pt x="2983" y="15759"/>
                        <a:pt x="2929" y="15622"/>
                      </a:cubicBezTo>
                      <a:cubicBezTo>
                        <a:pt x="2859" y="15443"/>
                        <a:pt x="2759" y="15277"/>
                        <a:pt x="2643" y="15123"/>
                      </a:cubicBezTo>
                      <a:cubicBezTo>
                        <a:pt x="2547" y="14999"/>
                        <a:pt x="2418" y="14986"/>
                        <a:pt x="2281" y="15020"/>
                      </a:cubicBezTo>
                      <a:cubicBezTo>
                        <a:pt x="1978" y="15090"/>
                        <a:pt x="1679" y="15161"/>
                        <a:pt x="1375" y="15227"/>
                      </a:cubicBezTo>
                      <a:cubicBezTo>
                        <a:pt x="1334" y="15236"/>
                        <a:pt x="1292" y="15248"/>
                        <a:pt x="1255" y="15256"/>
                      </a:cubicBezTo>
                      <a:cubicBezTo>
                        <a:pt x="1026" y="15298"/>
                        <a:pt x="910" y="15244"/>
                        <a:pt x="806" y="15036"/>
                      </a:cubicBezTo>
                      <a:cubicBezTo>
                        <a:pt x="769" y="14957"/>
                        <a:pt x="731" y="14878"/>
                        <a:pt x="702" y="14795"/>
                      </a:cubicBezTo>
                      <a:cubicBezTo>
                        <a:pt x="628" y="14575"/>
                        <a:pt x="669" y="14451"/>
                        <a:pt x="869" y="14326"/>
                      </a:cubicBezTo>
                      <a:cubicBezTo>
                        <a:pt x="1151" y="14148"/>
                        <a:pt x="1438" y="13969"/>
                        <a:pt x="1720" y="13794"/>
                      </a:cubicBezTo>
                      <a:cubicBezTo>
                        <a:pt x="1945" y="13653"/>
                        <a:pt x="1978" y="13574"/>
                        <a:pt x="1924" y="13317"/>
                      </a:cubicBezTo>
                      <a:cubicBezTo>
                        <a:pt x="1891" y="13172"/>
                        <a:pt x="1853" y="13022"/>
                        <a:pt x="1795" y="12885"/>
                      </a:cubicBezTo>
                      <a:cubicBezTo>
                        <a:pt x="1737" y="12748"/>
                        <a:pt x="1637" y="12681"/>
                        <a:pt x="1483" y="12677"/>
                      </a:cubicBezTo>
                      <a:cubicBezTo>
                        <a:pt x="1147" y="12673"/>
                        <a:pt x="815" y="12661"/>
                        <a:pt x="478" y="12648"/>
                      </a:cubicBezTo>
                      <a:cubicBezTo>
                        <a:pt x="175" y="12640"/>
                        <a:pt x="83" y="12561"/>
                        <a:pt x="29" y="12270"/>
                      </a:cubicBezTo>
                      <a:cubicBezTo>
                        <a:pt x="25" y="12241"/>
                        <a:pt x="17" y="12212"/>
                        <a:pt x="13" y="12183"/>
                      </a:cubicBezTo>
                      <a:cubicBezTo>
                        <a:pt x="-33" y="11813"/>
                        <a:pt x="29" y="11718"/>
                        <a:pt x="391" y="11610"/>
                      </a:cubicBezTo>
                      <a:cubicBezTo>
                        <a:pt x="690" y="11519"/>
                        <a:pt x="989" y="11419"/>
                        <a:pt x="1292" y="11336"/>
                      </a:cubicBezTo>
                      <a:cubicBezTo>
                        <a:pt x="1459" y="11290"/>
                        <a:pt x="1546" y="11195"/>
                        <a:pt x="1562" y="11033"/>
                      </a:cubicBezTo>
                      <a:cubicBezTo>
                        <a:pt x="1579" y="10842"/>
                        <a:pt x="1587" y="10646"/>
                        <a:pt x="1550" y="10455"/>
                      </a:cubicBezTo>
                      <a:cubicBezTo>
                        <a:pt x="1529" y="10331"/>
                        <a:pt x="1459" y="10256"/>
                        <a:pt x="1338" y="10219"/>
                      </a:cubicBezTo>
                      <a:cubicBezTo>
                        <a:pt x="1018" y="10123"/>
                        <a:pt x="698" y="10024"/>
                        <a:pt x="378" y="9924"/>
                      </a:cubicBezTo>
                      <a:cubicBezTo>
                        <a:pt x="29" y="9816"/>
                        <a:pt x="-8" y="9758"/>
                        <a:pt x="13" y="9392"/>
                      </a:cubicBezTo>
                      <a:cubicBezTo>
                        <a:pt x="17" y="9318"/>
                        <a:pt x="33" y="9243"/>
                        <a:pt x="50" y="9172"/>
                      </a:cubicBezTo>
                      <a:cubicBezTo>
                        <a:pt x="100" y="8989"/>
                        <a:pt x="204" y="8906"/>
                        <a:pt x="395" y="8898"/>
                      </a:cubicBezTo>
                      <a:cubicBezTo>
                        <a:pt x="707" y="8886"/>
                        <a:pt x="1014" y="8877"/>
                        <a:pt x="1326" y="8869"/>
                      </a:cubicBezTo>
                      <a:cubicBezTo>
                        <a:pt x="1371" y="8869"/>
                        <a:pt x="1417" y="8865"/>
                        <a:pt x="1463" y="8865"/>
                      </a:cubicBezTo>
                      <a:cubicBezTo>
                        <a:pt x="1670" y="8873"/>
                        <a:pt x="1778" y="8757"/>
                        <a:pt x="1832" y="8574"/>
                      </a:cubicBezTo>
                      <a:cubicBezTo>
                        <a:pt x="1874" y="8437"/>
                        <a:pt x="1911" y="8300"/>
                        <a:pt x="1940" y="8163"/>
                      </a:cubicBezTo>
                      <a:cubicBezTo>
                        <a:pt x="1978" y="7972"/>
                        <a:pt x="1932" y="7881"/>
                        <a:pt x="1766" y="7773"/>
                      </a:cubicBezTo>
                      <a:cubicBezTo>
                        <a:pt x="1483" y="7594"/>
                        <a:pt x="1197" y="7415"/>
                        <a:pt x="914" y="7241"/>
                      </a:cubicBezTo>
                      <a:cubicBezTo>
                        <a:pt x="661" y="7083"/>
                        <a:pt x="623" y="6983"/>
                        <a:pt x="723" y="6697"/>
                      </a:cubicBezTo>
                      <a:cubicBezTo>
                        <a:pt x="752" y="6606"/>
                        <a:pt x="790" y="6514"/>
                        <a:pt x="844" y="6435"/>
                      </a:cubicBezTo>
                      <a:cubicBezTo>
                        <a:pt x="931" y="6302"/>
                        <a:pt x="1051" y="6236"/>
                        <a:pt x="1218" y="6277"/>
                      </a:cubicBezTo>
                      <a:cubicBezTo>
                        <a:pt x="1571" y="6361"/>
                        <a:pt x="1928" y="6435"/>
                        <a:pt x="2281" y="6523"/>
                      </a:cubicBezTo>
                      <a:cubicBezTo>
                        <a:pt x="2443" y="6564"/>
                        <a:pt x="2568" y="6527"/>
                        <a:pt x="2668" y="6394"/>
                      </a:cubicBezTo>
                      <a:cubicBezTo>
                        <a:pt x="2771" y="6253"/>
                        <a:pt x="2863" y="6099"/>
                        <a:pt x="2929" y="5937"/>
                      </a:cubicBezTo>
                      <a:cubicBezTo>
                        <a:pt x="2987" y="5792"/>
                        <a:pt x="2971" y="5667"/>
                        <a:pt x="2854" y="5547"/>
                      </a:cubicBezTo>
                      <a:cubicBezTo>
                        <a:pt x="2614" y="5302"/>
                        <a:pt x="2385" y="5048"/>
                        <a:pt x="2148" y="4795"/>
                      </a:cubicBezTo>
                      <a:cubicBezTo>
                        <a:pt x="1965" y="4595"/>
                        <a:pt x="1957" y="4483"/>
                        <a:pt x="2107" y="4259"/>
                      </a:cubicBezTo>
                      <a:cubicBezTo>
                        <a:pt x="2132" y="4226"/>
                        <a:pt x="2152" y="4188"/>
                        <a:pt x="2177" y="4155"/>
                      </a:cubicBezTo>
                      <a:cubicBezTo>
                        <a:pt x="2389" y="3877"/>
                        <a:pt x="2505" y="3852"/>
                        <a:pt x="2817" y="4014"/>
                      </a:cubicBezTo>
                      <a:cubicBezTo>
                        <a:pt x="3108" y="4168"/>
                        <a:pt x="3399" y="4317"/>
                        <a:pt x="3681" y="4475"/>
                      </a:cubicBezTo>
                      <a:cubicBezTo>
                        <a:pt x="3831" y="4558"/>
                        <a:pt x="3964" y="4542"/>
                        <a:pt x="4088" y="4438"/>
                      </a:cubicBezTo>
                      <a:cubicBezTo>
                        <a:pt x="4213" y="4334"/>
                        <a:pt x="4329" y="4218"/>
                        <a:pt x="4437" y="4093"/>
                      </a:cubicBezTo>
                      <a:cubicBezTo>
                        <a:pt x="4545" y="3964"/>
                        <a:pt x="4570" y="3835"/>
                        <a:pt x="4483" y="3678"/>
                      </a:cubicBezTo>
                      <a:cubicBezTo>
                        <a:pt x="4309" y="3366"/>
                        <a:pt x="4147" y="3051"/>
                        <a:pt x="3980" y="2735"/>
                      </a:cubicBezTo>
                      <a:cubicBezTo>
                        <a:pt x="3872" y="2527"/>
                        <a:pt x="3897" y="2415"/>
                        <a:pt x="4068" y="2257"/>
                      </a:cubicBezTo>
                      <a:cubicBezTo>
                        <a:pt x="4147" y="2183"/>
                        <a:pt x="4234" y="2120"/>
                        <a:pt x="4329" y="2062"/>
                      </a:cubicBezTo>
                      <a:cubicBezTo>
                        <a:pt x="4496" y="1967"/>
                        <a:pt x="4612" y="1979"/>
                        <a:pt x="4753" y="2108"/>
                      </a:cubicBezTo>
                      <a:cubicBezTo>
                        <a:pt x="4994" y="2328"/>
                        <a:pt x="5235" y="2552"/>
                        <a:pt x="5472" y="2776"/>
                      </a:cubicBezTo>
                      <a:cubicBezTo>
                        <a:pt x="5721" y="3013"/>
                        <a:pt x="5775" y="3021"/>
                        <a:pt x="6078" y="2864"/>
                      </a:cubicBezTo>
                      <a:cubicBezTo>
                        <a:pt x="6199" y="2801"/>
                        <a:pt x="6311" y="2735"/>
                        <a:pt x="6419" y="2652"/>
                      </a:cubicBezTo>
                      <a:cubicBezTo>
                        <a:pt x="6535" y="2556"/>
                        <a:pt x="6573" y="2444"/>
                        <a:pt x="6535" y="2295"/>
                      </a:cubicBezTo>
                      <a:cubicBezTo>
                        <a:pt x="6448" y="1950"/>
                        <a:pt x="6373" y="1601"/>
                        <a:pt x="6295" y="1256"/>
                      </a:cubicBezTo>
                      <a:cubicBezTo>
                        <a:pt x="6245" y="1032"/>
                        <a:pt x="6299" y="920"/>
                        <a:pt x="6498" y="812"/>
                      </a:cubicBezTo>
                      <a:cubicBezTo>
                        <a:pt x="6590" y="766"/>
                        <a:pt x="6681" y="729"/>
                        <a:pt x="6776" y="696"/>
                      </a:cubicBezTo>
                      <a:cubicBezTo>
                        <a:pt x="6980" y="633"/>
                        <a:pt x="7096" y="671"/>
                        <a:pt x="7217" y="854"/>
                      </a:cubicBezTo>
                      <a:cubicBezTo>
                        <a:pt x="7408" y="1148"/>
                        <a:pt x="7599" y="1443"/>
                        <a:pt x="7774" y="1751"/>
                      </a:cubicBezTo>
                      <a:cubicBezTo>
                        <a:pt x="7865" y="1908"/>
                        <a:pt x="7990" y="1962"/>
                        <a:pt x="8160" y="1938"/>
                      </a:cubicBezTo>
                      <a:cubicBezTo>
                        <a:pt x="8339" y="1908"/>
                        <a:pt x="8513" y="1863"/>
                        <a:pt x="8679" y="1792"/>
                      </a:cubicBezTo>
                      <a:cubicBezTo>
                        <a:pt x="8800" y="1738"/>
                        <a:pt x="8866" y="1655"/>
                        <a:pt x="8870" y="1514"/>
                      </a:cubicBezTo>
                      <a:cubicBezTo>
                        <a:pt x="8879" y="1153"/>
                        <a:pt x="8899" y="795"/>
                        <a:pt x="8912" y="434"/>
                      </a:cubicBezTo>
                      <a:cubicBezTo>
                        <a:pt x="8920" y="202"/>
                        <a:pt x="8995" y="102"/>
                        <a:pt x="9219" y="40"/>
                      </a:cubicBezTo>
                      <a:cubicBezTo>
                        <a:pt x="9257" y="31"/>
                        <a:pt x="9294" y="19"/>
                        <a:pt x="9332" y="15"/>
                      </a:cubicBezTo>
                      <a:cubicBezTo>
                        <a:pt x="9743" y="-31"/>
                        <a:pt x="9843" y="15"/>
                        <a:pt x="9951" y="393"/>
                      </a:cubicBezTo>
                      <a:cubicBezTo>
                        <a:pt x="10038" y="700"/>
                        <a:pt x="10142" y="999"/>
                        <a:pt x="10225" y="1306"/>
                      </a:cubicBezTo>
                      <a:cubicBezTo>
                        <a:pt x="10266" y="1452"/>
                        <a:pt x="10354" y="1531"/>
                        <a:pt x="10495" y="1551"/>
                      </a:cubicBezTo>
                      <a:cubicBezTo>
                        <a:pt x="10690" y="1576"/>
                        <a:pt x="10890" y="1576"/>
                        <a:pt x="11085" y="1551"/>
                      </a:cubicBezTo>
                      <a:cubicBezTo>
                        <a:pt x="11222" y="1535"/>
                        <a:pt x="11305" y="1452"/>
                        <a:pt x="11347" y="1315"/>
                      </a:cubicBezTo>
                      <a:cubicBezTo>
                        <a:pt x="11446" y="978"/>
                        <a:pt x="11550" y="642"/>
                        <a:pt x="11654" y="305"/>
                      </a:cubicBezTo>
                      <a:cubicBezTo>
                        <a:pt x="11733" y="56"/>
                        <a:pt x="11812" y="-2"/>
                        <a:pt x="12074" y="2"/>
                      </a:cubicBezTo>
                      <a:cubicBezTo>
                        <a:pt x="12111" y="2"/>
                        <a:pt x="12148" y="2"/>
                        <a:pt x="12186" y="6"/>
                      </a:cubicBezTo>
                      <a:cubicBezTo>
                        <a:pt x="12556" y="44"/>
                        <a:pt x="12659" y="156"/>
                        <a:pt x="12668" y="526"/>
                      </a:cubicBezTo>
                      <a:cubicBezTo>
                        <a:pt x="12676" y="849"/>
                        <a:pt x="12689" y="1169"/>
                        <a:pt x="12697" y="1493"/>
                      </a:cubicBezTo>
                      <a:cubicBezTo>
                        <a:pt x="12701" y="1622"/>
                        <a:pt x="12747" y="1722"/>
                        <a:pt x="12867" y="1776"/>
                      </a:cubicBezTo>
                      <a:cubicBezTo>
                        <a:pt x="13062" y="1863"/>
                        <a:pt x="13266" y="1921"/>
                        <a:pt x="13482" y="1938"/>
                      </a:cubicBezTo>
                      <a:cubicBezTo>
                        <a:pt x="13615" y="1946"/>
                        <a:pt x="13706" y="1892"/>
                        <a:pt x="13773" y="1784"/>
                      </a:cubicBezTo>
                      <a:cubicBezTo>
                        <a:pt x="13956" y="1489"/>
                        <a:pt x="14143" y="1194"/>
                        <a:pt x="14325" y="899"/>
                      </a:cubicBezTo>
                      <a:cubicBezTo>
                        <a:pt x="14483" y="650"/>
                        <a:pt x="14579" y="617"/>
                        <a:pt x="14861" y="712"/>
                      </a:cubicBezTo>
                      <a:cubicBezTo>
                        <a:pt x="14895" y="725"/>
                        <a:pt x="14924" y="733"/>
                        <a:pt x="14957" y="746"/>
                      </a:cubicBezTo>
                      <a:cubicBezTo>
                        <a:pt x="15285" y="887"/>
                        <a:pt x="15339" y="991"/>
                        <a:pt x="15260" y="1340"/>
                      </a:cubicBezTo>
                      <a:cubicBezTo>
                        <a:pt x="15190" y="1651"/>
                        <a:pt x="15119" y="1958"/>
                        <a:pt x="15044" y="2270"/>
                      </a:cubicBezTo>
                      <a:cubicBezTo>
                        <a:pt x="15003" y="2440"/>
                        <a:pt x="15044" y="2573"/>
                        <a:pt x="15194" y="2673"/>
                      </a:cubicBezTo>
                      <a:cubicBezTo>
                        <a:pt x="15347" y="2776"/>
                        <a:pt x="15501" y="2872"/>
                        <a:pt x="15676" y="2938"/>
                      </a:cubicBezTo>
                      <a:cubicBezTo>
                        <a:pt x="15800" y="2984"/>
                        <a:pt x="15900" y="2955"/>
                        <a:pt x="15996" y="2864"/>
                      </a:cubicBezTo>
                      <a:cubicBezTo>
                        <a:pt x="16249" y="2623"/>
                        <a:pt x="16502" y="2390"/>
                        <a:pt x="16760" y="2154"/>
                      </a:cubicBezTo>
                      <a:cubicBezTo>
                        <a:pt x="16972" y="1954"/>
                        <a:pt x="17088" y="1946"/>
                        <a:pt x="17325" y="2108"/>
                      </a:cubicBezTo>
                      <a:cubicBezTo>
                        <a:pt x="17338" y="2116"/>
                        <a:pt x="17346" y="2120"/>
                        <a:pt x="17354" y="2129"/>
                      </a:cubicBezTo>
                      <a:cubicBezTo>
                        <a:pt x="17757" y="2419"/>
                        <a:pt x="17699" y="2544"/>
                        <a:pt x="17533" y="2847"/>
                      </a:cubicBezTo>
                      <a:cubicBezTo>
                        <a:pt x="17383" y="3121"/>
                        <a:pt x="17242" y="3404"/>
                        <a:pt x="17088" y="3678"/>
                      </a:cubicBezTo>
                      <a:cubicBezTo>
                        <a:pt x="17009" y="3823"/>
                        <a:pt x="17026" y="3948"/>
                        <a:pt x="17126" y="4072"/>
                      </a:cubicBezTo>
                      <a:cubicBezTo>
                        <a:pt x="17238" y="4209"/>
                        <a:pt x="17363" y="4334"/>
                        <a:pt x="17500" y="4442"/>
                      </a:cubicBezTo>
                      <a:cubicBezTo>
                        <a:pt x="17616" y="4533"/>
                        <a:pt x="17736" y="4546"/>
                        <a:pt x="17874" y="4475"/>
                      </a:cubicBezTo>
                      <a:cubicBezTo>
                        <a:pt x="18185" y="4305"/>
                        <a:pt x="18501" y="4139"/>
                        <a:pt x="18817" y="3977"/>
                      </a:cubicBezTo>
                      <a:cubicBezTo>
                        <a:pt x="19041" y="3860"/>
                        <a:pt x="19170" y="3885"/>
                        <a:pt x="19332" y="4085"/>
                      </a:cubicBezTo>
                      <a:cubicBezTo>
                        <a:pt x="19390" y="4151"/>
                        <a:pt x="19444" y="4222"/>
                        <a:pt x="19490" y="4296"/>
                      </a:cubicBezTo>
                      <a:cubicBezTo>
                        <a:pt x="19606" y="4479"/>
                        <a:pt x="19594" y="4600"/>
                        <a:pt x="19448" y="4762"/>
                      </a:cubicBezTo>
                      <a:cubicBezTo>
                        <a:pt x="19199" y="5032"/>
                        <a:pt x="18950" y="5306"/>
                        <a:pt x="18696" y="5571"/>
                      </a:cubicBezTo>
                      <a:cubicBezTo>
                        <a:pt x="18601" y="5671"/>
                        <a:pt x="18580" y="5779"/>
                        <a:pt x="18630" y="5904"/>
                      </a:cubicBezTo>
                      <a:cubicBezTo>
                        <a:pt x="18704" y="6082"/>
                        <a:pt x="18796" y="6248"/>
                        <a:pt x="18916" y="6402"/>
                      </a:cubicBezTo>
                      <a:cubicBezTo>
                        <a:pt x="19012" y="6527"/>
                        <a:pt x="19128" y="6560"/>
                        <a:pt x="19282" y="6523"/>
                      </a:cubicBezTo>
                      <a:cubicBezTo>
                        <a:pt x="19635" y="6435"/>
                        <a:pt x="19992" y="6356"/>
                        <a:pt x="20346" y="6282"/>
                      </a:cubicBezTo>
                      <a:cubicBezTo>
                        <a:pt x="20532" y="6240"/>
                        <a:pt x="20645" y="6294"/>
                        <a:pt x="20740" y="6464"/>
                      </a:cubicBezTo>
                      <a:cubicBezTo>
                        <a:pt x="20790" y="6556"/>
                        <a:pt x="20832" y="6651"/>
                        <a:pt x="20865" y="6751"/>
                      </a:cubicBezTo>
                      <a:cubicBezTo>
                        <a:pt x="20935" y="6979"/>
                        <a:pt x="20898" y="7087"/>
                        <a:pt x="20695" y="7216"/>
                      </a:cubicBezTo>
                      <a:cubicBezTo>
                        <a:pt x="20404" y="7399"/>
                        <a:pt x="20117" y="7590"/>
                        <a:pt x="19818" y="7760"/>
                      </a:cubicBezTo>
                      <a:cubicBezTo>
                        <a:pt x="19648" y="7860"/>
                        <a:pt x="19602" y="7993"/>
                        <a:pt x="19631" y="8167"/>
                      </a:cubicBezTo>
                      <a:cubicBezTo>
                        <a:pt x="19656" y="8329"/>
                        <a:pt x="19702" y="8487"/>
                        <a:pt x="19760" y="8641"/>
                      </a:cubicBezTo>
                      <a:cubicBezTo>
                        <a:pt x="19814" y="8782"/>
                        <a:pt x="19909" y="8857"/>
                        <a:pt x="20071" y="8861"/>
                      </a:cubicBezTo>
                      <a:cubicBezTo>
                        <a:pt x="20437" y="8865"/>
                        <a:pt x="20798" y="8890"/>
                        <a:pt x="21164" y="8902"/>
                      </a:cubicBezTo>
                      <a:cubicBezTo>
                        <a:pt x="21363" y="8911"/>
                        <a:pt x="21463" y="8989"/>
                        <a:pt x="21517" y="9180"/>
                      </a:cubicBezTo>
                      <a:cubicBezTo>
                        <a:pt x="21550" y="9288"/>
                        <a:pt x="21563" y="9401"/>
                        <a:pt x="21563" y="9517"/>
                      </a:cubicBezTo>
                      <a:cubicBezTo>
                        <a:pt x="21563" y="9741"/>
                        <a:pt x="21501" y="9832"/>
                        <a:pt x="21293" y="9899"/>
                      </a:cubicBezTo>
                      <a:cubicBezTo>
                        <a:pt x="20965" y="10003"/>
                        <a:pt x="20636" y="10102"/>
                        <a:pt x="20308" y="10202"/>
                      </a:cubicBezTo>
                      <a:cubicBezTo>
                        <a:pt x="20071" y="10273"/>
                        <a:pt x="20009" y="10347"/>
                        <a:pt x="20001" y="10592"/>
                      </a:cubicBezTo>
                      <a:cubicBezTo>
                        <a:pt x="19997" y="10763"/>
                        <a:pt x="19984" y="10937"/>
                        <a:pt x="20021" y="11107"/>
                      </a:cubicBezTo>
                      <a:cubicBezTo>
                        <a:pt x="20046" y="11224"/>
                        <a:pt x="20117" y="11294"/>
                        <a:pt x="20233" y="11332"/>
                      </a:cubicBezTo>
                      <a:cubicBezTo>
                        <a:pt x="20578" y="11436"/>
                        <a:pt x="20923" y="11539"/>
                        <a:pt x="21268" y="11647"/>
                      </a:cubicBezTo>
                      <a:cubicBezTo>
                        <a:pt x="21509" y="11722"/>
                        <a:pt x="21567" y="11805"/>
                        <a:pt x="21563" y="12059"/>
                      </a:cubicBezTo>
                      <a:cubicBezTo>
                        <a:pt x="21563" y="12083"/>
                        <a:pt x="21563" y="12108"/>
                        <a:pt x="21563" y="12133"/>
                      </a:cubicBezTo>
                      <a:cubicBezTo>
                        <a:pt x="21546" y="12524"/>
                        <a:pt x="21422" y="12648"/>
                        <a:pt x="21031" y="12661"/>
                      </a:cubicBezTo>
                      <a:cubicBezTo>
                        <a:pt x="20703" y="12669"/>
                        <a:pt x="20379" y="12686"/>
                        <a:pt x="20051" y="12690"/>
                      </a:cubicBezTo>
                      <a:cubicBezTo>
                        <a:pt x="19926" y="12694"/>
                        <a:pt x="19839" y="12748"/>
                        <a:pt x="19789" y="12852"/>
                      </a:cubicBezTo>
                      <a:cubicBezTo>
                        <a:pt x="19697" y="13047"/>
                        <a:pt x="19639" y="13250"/>
                        <a:pt x="19623" y="13466"/>
                      </a:cubicBezTo>
                      <a:cubicBezTo>
                        <a:pt x="19610" y="13603"/>
                        <a:pt x="19668" y="13695"/>
                        <a:pt x="19785" y="13765"/>
                      </a:cubicBezTo>
                      <a:cubicBezTo>
                        <a:pt x="20075" y="13944"/>
                        <a:pt x="20362" y="14123"/>
                        <a:pt x="20649" y="14305"/>
                      </a:cubicBezTo>
                      <a:cubicBezTo>
                        <a:pt x="20911" y="14467"/>
                        <a:pt x="20944" y="14567"/>
                        <a:pt x="20844" y="14858"/>
                      </a:cubicBezTo>
                      <a:cubicBezTo>
                        <a:pt x="20811" y="14957"/>
                        <a:pt x="20765" y="15053"/>
                        <a:pt x="20707" y="15140"/>
                      </a:cubicBezTo>
                      <a:cubicBezTo>
                        <a:pt x="20653" y="15219"/>
                        <a:pt x="20566" y="15273"/>
                        <a:pt x="20441" y="15273"/>
                      </a:cubicBezTo>
                      <a:close/>
                      <a:moveTo>
                        <a:pt x="10777" y="18616"/>
                      </a:moveTo>
                      <a:cubicBezTo>
                        <a:pt x="15053" y="18633"/>
                        <a:pt x="18659" y="15194"/>
                        <a:pt x="18655" y="10750"/>
                      </a:cubicBezTo>
                      <a:cubicBezTo>
                        <a:pt x="18650" y="6381"/>
                        <a:pt x="15144" y="2897"/>
                        <a:pt x="10790" y="2893"/>
                      </a:cubicBezTo>
                      <a:cubicBezTo>
                        <a:pt x="6411" y="2889"/>
                        <a:pt x="2929" y="6398"/>
                        <a:pt x="2913" y="10721"/>
                      </a:cubicBezTo>
                      <a:cubicBezTo>
                        <a:pt x="2896" y="15148"/>
                        <a:pt x="6490" y="18629"/>
                        <a:pt x="10777" y="18616"/>
                      </a:cubicBezTo>
                      <a:close/>
                    </a:path>
                  </a:pathLst>
                </a:custGeom>
                <a:solidFill>
                  <a:srgbClr val="FFFFFF">
                    <a:alpha val="10000"/>
                  </a:srgbClr>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latin typeface="Verdana"/>
                      <a:ea typeface="Verdana"/>
                      <a:cs typeface="Verdana"/>
                      <a:sym typeface="Verdana"/>
                    </a:defRPr>
                  </a:pPr>
                  <a:endParaRPr kumimoji="0" sz="1300" b="0" i="0" u="none" strike="noStrike" kern="1200" cap="none" spc="0" normalizeH="0" baseline="0" noProof="0">
                    <a:ln>
                      <a:noFill/>
                    </a:ln>
                    <a:solidFill>
                      <a:srgbClr val="000000"/>
                    </a:solidFill>
                    <a:effectLst/>
                    <a:uLnTx/>
                    <a:uFillTx/>
                    <a:latin typeface="Verdana"/>
                    <a:ea typeface="Verdana"/>
                    <a:cs typeface="Verdana"/>
                    <a:sym typeface="Verdana"/>
                  </a:endParaRPr>
                </a:p>
              </p:txBody>
            </p:sp>
            <p:sp>
              <p:nvSpPr>
                <p:cNvPr id="58" name="Freeform: Shape 61">
                  <a:extLst>
                    <a:ext uri="{FF2B5EF4-FFF2-40B4-BE49-F238E27FC236}">
                      <a16:creationId xmlns:a16="http://schemas.microsoft.com/office/drawing/2014/main" id="{A4252C34-ACCA-4E9F-9E38-5EF823E7B2BB}"/>
                    </a:ext>
                  </a:extLst>
                </p:cNvPr>
                <p:cNvSpPr/>
                <p:nvPr/>
              </p:nvSpPr>
              <p:spPr>
                <a:xfrm>
                  <a:off x="274110" y="271724"/>
                  <a:ext cx="1332411" cy="1332027"/>
                </a:xfrm>
                <a:custGeom>
                  <a:avLst/>
                  <a:gdLst/>
                  <a:ahLst/>
                  <a:cxnLst>
                    <a:cxn ang="0">
                      <a:pos x="wd2" y="hd2"/>
                    </a:cxn>
                    <a:cxn ang="5400000">
                      <a:pos x="wd2" y="hd2"/>
                    </a:cxn>
                    <a:cxn ang="10800000">
                      <a:pos x="wd2" y="hd2"/>
                    </a:cxn>
                    <a:cxn ang="16200000">
                      <a:pos x="wd2" y="hd2"/>
                    </a:cxn>
                  </a:cxnLst>
                  <a:rect l="0" t="0" r="r" b="b"/>
                  <a:pathLst>
                    <a:path w="21542" h="21577" extrusionOk="0">
                      <a:moveTo>
                        <a:pt x="1" y="10773"/>
                      </a:moveTo>
                      <a:cubicBezTo>
                        <a:pt x="-34" y="4867"/>
                        <a:pt x="4836" y="-12"/>
                        <a:pt x="10783" y="0"/>
                      </a:cubicBezTo>
                      <a:cubicBezTo>
                        <a:pt x="16701" y="11"/>
                        <a:pt x="21554" y="4862"/>
                        <a:pt x="21542" y="10809"/>
                      </a:cubicBezTo>
                      <a:cubicBezTo>
                        <a:pt x="21531" y="16691"/>
                        <a:pt x="16766" y="21588"/>
                        <a:pt x="10742" y="21576"/>
                      </a:cubicBezTo>
                      <a:cubicBezTo>
                        <a:pt x="4672" y="21559"/>
                        <a:pt x="-46" y="16597"/>
                        <a:pt x="1" y="10773"/>
                      </a:cubicBezTo>
                      <a:close/>
                      <a:moveTo>
                        <a:pt x="13476" y="10797"/>
                      </a:moveTo>
                      <a:cubicBezTo>
                        <a:pt x="13482" y="9290"/>
                        <a:pt x="12299" y="8076"/>
                        <a:pt x="10772" y="8076"/>
                      </a:cubicBezTo>
                      <a:cubicBezTo>
                        <a:pt x="9144" y="8076"/>
                        <a:pt x="8055" y="9413"/>
                        <a:pt x="8061" y="10779"/>
                      </a:cubicBezTo>
                      <a:cubicBezTo>
                        <a:pt x="8067" y="12292"/>
                        <a:pt x="9255" y="13506"/>
                        <a:pt x="10760" y="13506"/>
                      </a:cubicBezTo>
                      <a:cubicBezTo>
                        <a:pt x="12264" y="13506"/>
                        <a:pt x="13470" y="12310"/>
                        <a:pt x="13476" y="10797"/>
                      </a:cubicBezTo>
                      <a:close/>
                    </a:path>
                  </a:pathLst>
                </a:custGeom>
                <a:solidFill>
                  <a:srgbClr val="FFFFFF">
                    <a:alpha val="10000"/>
                  </a:srgbClr>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latin typeface="Verdana"/>
                      <a:ea typeface="Verdana"/>
                      <a:cs typeface="Verdana"/>
                      <a:sym typeface="Verdana"/>
                    </a:defRPr>
                  </a:pPr>
                  <a:endParaRPr kumimoji="0" sz="1300" b="0" i="0" u="none" strike="noStrike" kern="1200" cap="none" spc="0" normalizeH="0" baseline="0" noProof="0">
                    <a:ln>
                      <a:noFill/>
                    </a:ln>
                    <a:solidFill>
                      <a:srgbClr val="000000"/>
                    </a:solidFill>
                    <a:effectLst/>
                    <a:uLnTx/>
                    <a:uFillTx/>
                    <a:latin typeface="Verdana"/>
                    <a:ea typeface="Verdana"/>
                    <a:cs typeface="Verdana"/>
                    <a:sym typeface="Verdana"/>
                  </a:endParaRPr>
                </a:p>
              </p:txBody>
            </p:sp>
          </p:grpSp>
        </p:grpSp>
        <p:grpSp>
          <p:nvGrpSpPr>
            <p:cNvPr id="49" name="Group 61">
              <a:extLst>
                <a:ext uri="{FF2B5EF4-FFF2-40B4-BE49-F238E27FC236}">
                  <a16:creationId xmlns:a16="http://schemas.microsoft.com/office/drawing/2014/main" id="{6A9DAEBC-7B0E-4AB6-A0FA-1A5DD0F64A12}"/>
                </a:ext>
              </a:extLst>
            </p:cNvPr>
            <p:cNvGrpSpPr/>
            <p:nvPr/>
          </p:nvGrpSpPr>
          <p:grpSpPr>
            <a:xfrm>
              <a:off x="3581896" y="7809627"/>
              <a:ext cx="1798810" cy="1640219"/>
              <a:chOff x="0" y="0"/>
              <a:chExt cx="1798808" cy="1640218"/>
            </a:xfrm>
          </p:grpSpPr>
          <p:sp>
            <p:nvSpPr>
              <p:cNvPr id="51" name="Freeform: Shape 64">
                <a:extLst>
                  <a:ext uri="{FF2B5EF4-FFF2-40B4-BE49-F238E27FC236}">
                    <a16:creationId xmlns:a16="http://schemas.microsoft.com/office/drawing/2014/main" id="{04624093-AC98-48AF-825C-A6B638B6FAA5}"/>
                  </a:ext>
                </a:extLst>
              </p:cNvPr>
              <p:cNvSpPr/>
              <p:nvPr/>
            </p:nvSpPr>
            <p:spPr>
              <a:xfrm rot="15300000">
                <a:off x="948177" y="789678"/>
                <a:ext cx="764969" cy="764351"/>
              </a:xfrm>
              <a:custGeom>
                <a:avLst/>
                <a:gdLst/>
                <a:ahLst/>
                <a:cxnLst>
                  <a:cxn ang="0">
                    <a:pos x="wd2" y="hd2"/>
                  </a:cxn>
                  <a:cxn ang="5400000">
                    <a:pos x="wd2" y="hd2"/>
                  </a:cxn>
                  <a:cxn ang="10800000">
                    <a:pos x="wd2" y="hd2"/>
                  </a:cxn>
                  <a:cxn ang="16200000">
                    <a:pos x="wd2" y="hd2"/>
                  </a:cxn>
                </a:cxnLst>
                <a:rect l="0" t="0" r="r" b="b"/>
                <a:pathLst>
                  <a:path w="21590" h="21596" extrusionOk="0">
                    <a:moveTo>
                      <a:pt x="0" y="11110"/>
                    </a:moveTo>
                    <a:cubicBezTo>
                      <a:pt x="93" y="10935"/>
                      <a:pt x="238" y="10848"/>
                      <a:pt x="423" y="10802"/>
                    </a:cubicBezTo>
                    <a:cubicBezTo>
                      <a:pt x="922" y="10668"/>
                      <a:pt x="1409" y="10517"/>
                      <a:pt x="1908" y="10384"/>
                    </a:cubicBezTo>
                    <a:cubicBezTo>
                      <a:pt x="2210" y="10302"/>
                      <a:pt x="2390" y="10134"/>
                      <a:pt x="2419" y="9815"/>
                    </a:cubicBezTo>
                    <a:cubicBezTo>
                      <a:pt x="2424" y="9733"/>
                      <a:pt x="2436" y="9652"/>
                      <a:pt x="2448" y="9571"/>
                    </a:cubicBezTo>
                    <a:cubicBezTo>
                      <a:pt x="2477" y="9298"/>
                      <a:pt x="2355" y="9112"/>
                      <a:pt x="2129" y="8979"/>
                    </a:cubicBezTo>
                    <a:cubicBezTo>
                      <a:pt x="1676" y="8717"/>
                      <a:pt x="1230" y="8450"/>
                      <a:pt x="783" y="8189"/>
                    </a:cubicBezTo>
                    <a:cubicBezTo>
                      <a:pt x="452" y="7997"/>
                      <a:pt x="394" y="7852"/>
                      <a:pt x="493" y="7481"/>
                    </a:cubicBezTo>
                    <a:cubicBezTo>
                      <a:pt x="505" y="7446"/>
                      <a:pt x="510" y="7411"/>
                      <a:pt x="522" y="7382"/>
                    </a:cubicBezTo>
                    <a:cubicBezTo>
                      <a:pt x="667" y="6900"/>
                      <a:pt x="795" y="6807"/>
                      <a:pt x="1288" y="6853"/>
                    </a:cubicBezTo>
                    <a:cubicBezTo>
                      <a:pt x="1763" y="6900"/>
                      <a:pt x="2239" y="6952"/>
                      <a:pt x="2715" y="7016"/>
                    </a:cubicBezTo>
                    <a:cubicBezTo>
                      <a:pt x="3092" y="7062"/>
                      <a:pt x="3254" y="6999"/>
                      <a:pt x="3445" y="6679"/>
                    </a:cubicBezTo>
                    <a:cubicBezTo>
                      <a:pt x="3718" y="6238"/>
                      <a:pt x="3706" y="6099"/>
                      <a:pt x="3387" y="5686"/>
                    </a:cubicBezTo>
                    <a:cubicBezTo>
                      <a:pt x="3086" y="5297"/>
                      <a:pt x="2790" y="4902"/>
                      <a:pt x="2500" y="4508"/>
                    </a:cubicBezTo>
                    <a:cubicBezTo>
                      <a:pt x="2326" y="4275"/>
                      <a:pt x="2326" y="4084"/>
                      <a:pt x="2500" y="3851"/>
                    </a:cubicBezTo>
                    <a:cubicBezTo>
                      <a:pt x="2587" y="3735"/>
                      <a:pt x="2680" y="3619"/>
                      <a:pt x="2790" y="3526"/>
                    </a:cubicBezTo>
                    <a:cubicBezTo>
                      <a:pt x="3010" y="3341"/>
                      <a:pt x="3161" y="3317"/>
                      <a:pt x="3411" y="3457"/>
                    </a:cubicBezTo>
                    <a:cubicBezTo>
                      <a:pt x="3851" y="3701"/>
                      <a:pt x="4304" y="3927"/>
                      <a:pt x="4727" y="4200"/>
                    </a:cubicBezTo>
                    <a:cubicBezTo>
                      <a:pt x="5214" y="4513"/>
                      <a:pt x="5551" y="4304"/>
                      <a:pt x="5905" y="3869"/>
                    </a:cubicBezTo>
                    <a:cubicBezTo>
                      <a:pt x="6021" y="3724"/>
                      <a:pt x="5980" y="3532"/>
                      <a:pt x="5934" y="3358"/>
                    </a:cubicBezTo>
                    <a:cubicBezTo>
                      <a:pt x="5806" y="2864"/>
                      <a:pt x="5678" y="2371"/>
                      <a:pt x="5551" y="1877"/>
                    </a:cubicBezTo>
                    <a:cubicBezTo>
                      <a:pt x="5458" y="1523"/>
                      <a:pt x="5516" y="1378"/>
                      <a:pt x="5829" y="1192"/>
                    </a:cubicBezTo>
                    <a:cubicBezTo>
                      <a:pt x="5899" y="1151"/>
                      <a:pt x="5968" y="1111"/>
                      <a:pt x="6044" y="1076"/>
                    </a:cubicBezTo>
                    <a:cubicBezTo>
                      <a:pt x="6421" y="902"/>
                      <a:pt x="6589" y="942"/>
                      <a:pt x="6844" y="1273"/>
                    </a:cubicBezTo>
                    <a:cubicBezTo>
                      <a:pt x="7152" y="1662"/>
                      <a:pt x="7459" y="2057"/>
                      <a:pt x="7766" y="2446"/>
                    </a:cubicBezTo>
                    <a:cubicBezTo>
                      <a:pt x="8057" y="2806"/>
                      <a:pt x="8735" y="2806"/>
                      <a:pt x="9025" y="2441"/>
                    </a:cubicBezTo>
                    <a:cubicBezTo>
                      <a:pt x="9147" y="2284"/>
                      <a:pt x="9147" y="2086"/>
                      <a:pt x="9176" y="1906"/>
                    </a:cubicBezTo>
                    <a:cubicBezTo>
                      <a:pt x="9246" y="1453"/>
                      <a:pt x="9304" y="1001"/>
                      <a:pt x="9362" y="548"/>
                    </a:cubicBezTo>
                    <a:cubicBezTo>
                      <a:pt x="9408" y="188"/>
                      <a:pt x="9507" y="89"/>
                      <a:pt x="9866" y="25"/>
                    </a:cubicBezTo>
                    <a:cubicBezTo>
                      <a:pt x="10017" y="-4"/>
                      <a:pt x="10168" y="-4"/>
                      <a:pt x="10319" y="8"/>
                    </a:cubicBezTo>
                    <a:cubicBezTo>
                      <a:pt x="10539" y="19"/>
                      <a:pt x="10690" y="135"/>
                      <a:pt x="10748" y="356"/>
                    </a:cubicBezTo>
                    <a:cubicBezTo>
                      <a:pt x="10887" y="850"/>
                      <a:pt x="11032" y="1349"/>
                      <a:pt x="11171" y="1842"/>
                    </a:cubicBezTo>
                    <a:cubicBezTo>
                      <a:pt x="11316" y="2348"/>
                      <a:pt x="11734" y="2586"/>
                      <a:pt x="12250" y="2452"/>
                    </a:cubicBezTo>
                    <a:cubicBezTo>
                      <a:pt x="12418" y="2411"/>
                      <a:pt x="12517" y="2290"/>
                      <a:pt x="12598" y="2150"/>
                    </a:cubicBezTo>
                    <a:cubicBezTo>
                      <a:pt x="12865" y="1691"/>
                      <a:pt x="13137" y="1233"/>
                      <a:pt x="13410" y="774"/>
                    </a:cubicBezTo>
                    <a:cubicBezTo>
                      <a:pt x="13584" y="478"/>
                      <a:pt x="13735" y="414"/>
                      <a:pt x="14066" y="501"/>
                    </a:cubicBezTo>
                    <a:cubicBezTo>
                      <a:pt x="14727" y="670"/>
                      <a:pt x="14814" y="815"/>
                      <a:pt x="14715" y="1552"/>
                    </a:cubicBezTo>
                    <a:cubicBezTo>
                      <a:pt x="14657" y="1993"/>
                      <a:pt x="14605" y="2435"/>
                      <a:pt x="14553" y="2876"/>
                    </a:cubicBezTo>
                    <a:cubicBezTo>
                      <a:pt x="14547" y="2922"/>
                      <a:pt x="14547" y="2969"/>
                      <a:pt x="14553" y="3015"/>
                    </a:cubicBezTo>
                    <a:cubicBezTo>
                      <a:pt x="14628" y="3486"/>
                      <a:pt x="15342" y="3811"/>
                      <a:pt x="15730" y="3538"/>
                    </a:cubicBezTo>
                    <a:cubicBezTo>
                      <a:pt x="16171" y="3224"/>
                      <a:pt x="16594" y="2893"/>
                      <a:pt x="17024" y="2568"/>
                    </a:cubicBezTo>
                    <a:cubicBezTo>
                      <a:pt x="17337" y="2330"/>
                      <a:pt x="17493" y="2336"/>
                      <a:pt x="17807" y="2580"/>
                    </a:cubicBezTo>
                    <a:cubicBezTo>
                      <a:pt x="17847" y="2615"/>
                      <a:pt x="17888" y="2644"/>
                      <a:pt x="17928" y="2684"/>
                    </a:cubicBezTo>
                    <a:cubicBezTo>
                      <a:pt x="18294" y="3033"/>
                      <a:pt x="18311" y="3137"/>
                      <a:pt x="18062" y="3579"/>
                    </a:cubicBezTo>
                    <a:cubicBezTo>
                      <a:pt x="17824" y="4002"/>
                      <a:pt x="17598" y="4432"/>
                      <a:pt x="17348" y="4850"/>
                    </a:cubicBezTo>
                    <a:cubicBezTo>
                      <a:pt x="17169" y="5158"/>
                      <a:pt x="17250" y="5413"/>
                      <a:pt x="17447" y="5675"/>
                    </a:cubicBezTo>
                    <a:cubicBezTo>
                      <a:pt x="17644" y="5936"/>
                      <a:pt x="17870" y="6064"/>
                      <a:pt x="18201" y="5977"/>
                    </a:cubicBezTo>
                    <a:cubicBezTo>
                      <a:pt x="18711" y="5843"/>
                      <a:pt x="19222" y="5715"/>
                      <a:pt x="19727" y="5576"/>
                    </a:cubicBezTo>
                    <a:cubicBezTo>
                      <a:pt x="20051" y="5489"/>
                      <a:pt x="20196" y="5541"/>
                      <a:pt x="20376" y="5826"/>
                    </a:cubicBezTo>
                    <a:cubicBezTo>
                      <a:pt x="20457" y="5948"/>
                      <a:pt x="20527" y="6075"/>
                      <a:pt x="20573" y="6215"/>
                    </a:cubicBezTo>
                    <a:cubicBezTo>
                      <a:pt x="20660" y="6464"/>
                      <a:pt x="20620" y="6621"/>
                      <a:pt x="20411" y="6790"/>
                    </a:cubicBezTo>
                    <a:cubicBezTo>
                      <a:pt x="19976" y="7138"/>
                      <a:pt x="19547" y="7486"/>
                      <a:pt x="19106" y="7829"/>
                    </a:cubicBezTo>
                    <a:cubicBezTo>
                      <a:pt x="18885" y="7997"/>
                      <a:pt x="18827" y="8206"/>
                      <a:pt x="18874" y="8462"/>
                    </a:cubicBezTo>
                    <a:cubicBezTo>
                      <a:pt x="18891" y="8549"/>
                      <a:pt x="18920" y="8630"/>
                      <a:pt x="18943" y="8717"/>
                    </a:cubicBezTo>
                    <a:cubicBezTo>
                      <a:pt x="19019" y="8990"/>
                      <a:pt x="19199" y="9141"/>
                      <a:pt x="19477" y="9176"/>
                    </a:cubicBezTo>
                    <a:cubicBezTo>
                      <a:pt x="20005" y="9246"/>
                      <a:pt x="20533" y="9321"/>
                      <a:pt x="21055" y="9391"/>
                    </a:cubicBezTo>
                    <a:cubicBezTo>
                      <a:pt x="21368" y="9431"/>
                      <a:pt x="21530" y="9582"/>
                      <a:pt x="21565" y="9896"/>
                    </a:cubicBezTo>
                    <a:cubicBezTo>
                      <a:pt x="21583" y="10047"/>
                      <a:pt x="21600" y="10198"/>
                      <a:pt x="21583" y="10349"/>
                    </a:cubicBezTo>
                    <a:cubicBezTo>
                      <a:pt x="21554" y="10587"/>
                      <a:pt x="21432" y="10721"/>
                      <a:pt x="21211" y="10784"/>
                    </a:cubicBezTo>
                    <a:cubicBezTo>
                      <a:pt x="20718" y="10924"/>
                      <a:pt x="20220" y="11063"/>
                      <a:pt x="19727" y="11208"/>
                    </a:cubicBezTo>
                    <a:cubicBezTo>
                      <a:pt x="19245" y="11348"/>
                      <a:pt x="19025" y="11713"/>
                      <a:pt x="19123" y="12213"/>
                    </a:cubicBezTo>
                    <a:cubicBezTo>
                      <a:pt x="19158" y="12404"/>
                      <a:pt x="19268" y="12526"/>
                      <a:pt x="19431" y="12619"/>
                    </a:cubicBezTo>
                    <a:cubicBezTo>
                      <a:pt x="19883" y="12886"/>
                      <a:pt x="20336" y="13153"/>
                      <a:pt x="20794" y="13421"/>
                    </a:cubicBezTo>
                    <a:cubicBezTo>
                      <a:pt x="21130" y="13618"/>
                      <a:pt x="21182" y="13734"/>
                      <a:pt x="21090" y="14111"/>
                    </a:cubicBezTo>
                    <a:cubicBezTo>
                      <a:pt x="21084" y="14135"/>
                      <a:pt x="21084" y="14158"/>
                      <a:pt x="21078" y="14181"/>
                    </a:cubicBezTo>
                    <a:cubicBezTo>
                      <a:pt x="20939" y="14640"/>
                      <a:pt x="20782" y="14866"/>
                      <a:pt x="20260" y="14768"/>
                    </a:cubicBezTo>
                    <a:cubicBezTo>
                      <a:pt x="19790" y="14675"/>
                      <a:pt x="19309" y="14657"/>
                      <a:pt x="18833" y="14588"/>
                    </a:cubicBezTo>
                    <a:cubicBezTo>
                      <a:pt x="18497" y="14541"/>
                      <a:pt x="18276" y="14675"/>
                      <a:pt x="18114" y="14959"/>
                    </a:cubicBezTo>
                    <a:cubicBezTo>
                      <a:pt x="17946" y="15250"/>
                      <a:pt x="17870" y="15522"/>
                      <a:pt x="18102" y="15819"/>
                    </a:cubicBezTo>
                    <a:cubicBezTo>
                      <a:pt x="18416" y="16219"/>
                      <a:pt x="18717" y="16631"/>
                      <a:pt x="19025" y="17038"/>
                    </a:cubicBezTo>
                    <a:cubicBezTo>
                      <a:pt x="19280" y="17369"/>
                      <a:pt x="19280" y="17502"/>
                      <a:pt x="19025" y="17833"/>
                    </a:cubicBezTo>
                    <a:cubicBezTo>
                      <a:pt x="19013" y="17845"/>
                      <a:pt x="19002" y="17862"/>
                      <a:pt x="18990" y="17874"/>
                    </a:cubicBezTo>
                    <a:cubicBezTo>
                      <a:pt x="18653" y="18234"/>
                      <a:pt x="18520" y="18391"/>
                      <a:pt x="17992" y="18071"/>
                    </a:cubicBezTo>
                    <a:cubicBezTo>
                      <a:pt x="17586" y="17828"/>
                      <a:pt x="17157" y="17619"/>
                      <a:pt x="16757" y="17375"/>
                    </a:cubicBezTo>
                    <a:cubicBezTo>
                      <a:pt x="16426" y="17177"/>
                      <a:pt x="16171" y="17293"/>
                      <a:pt x="15910" y="17497"/>
                    </a:cubicBezTo>
                    <a:cubicBezTo>
                      <a:pt x="15649" y="17694"/>
                      <a:pt x="15545" y="17932"/>
                      <a:pt x="15637" y="18263"/>
                    </a:cubicBezTo>
                    <a:cubicBezTo>
                      <a:pt x="15782" y="18774"/>
                      <a:pt x="15910" y="19291"/>
                      <a:pt x="16038" y="19808"/>
                    </a:cubicBezTo>
                    <a:cubicBezTo>
                      <a:pt x="16107" y="20086"/>
                      <a:pt x="16049" y="20237"/>
                      <a:pt x="15811" y="20388"/>
                    </a:cubicBezTo>
                    <a:cubicBezTo>
                      <a:pt x="15684" y="20470"/>
                      <a:pt x="15550" y="20545"/>
                      <a:pt x="15405" y="20597"/>
                    </a:cubicBezTo>
                    <a:cubicBezTo>
                      <a:pt x="15150" y="20690"/>
                      <a:pt x="14965" y="20644"/>
                      <a:pt x="14796" y="20429"/>
                    </a:cubicBezTo>
                    <a:cubicBezTo>
                      <a:pt x="14477" y="20028"/>
                      <a:pt x="14158" y="19622"/>
                      <a:pt x="13839" y="19215"/>
                    </a:cubicBezTo>
                    <a:cubicBezTo>
                      <a:pt x="13532" y="18832"/>
                      <a:pt x="12975" y="18780"/>
                      <a:pt x="12604" y="19111"/>
                    </a:cubicBezTo>
                    <a:cubicBezTo>
                      <a:pt x="12505" y="19198"/>
                      <a:pt x="12459" y="19308"/>
                      <a:pt x="12441" y="19436"/>
                    </a:cubicBezTo>
                    <a:cubicBezTo>
                      <a:pt x="12366" y="19970"/>
                      <a:pt x="12279" y="20499"/>
                      <a:pt x="12221" y="21033"/>
                    </a:cubicBezTo>
                    <a:cubicBezTo>
                      <a:pt x="12186" y="21311"/>
                      <a:pt x="12076" y="21509"/>
                      <a:pt x="11803" y="21596"/>
                    </a:cubicBezTo>
                    <a:cubicBezTo>
                      <a:pt x="11571" y="21596"/>
                      <a:pt x="11334" y="21596"/>
                      <a:pt x="11102" y="21596"/>
                    </a:cubicBezTo>
                    <a:cubicBezTo>
                      <a:pt x="10939" y="21497"/>
                      <a:pt x="10846" y="21352"/>
                      <a:pt x="10794" y="21166"/>
                    </a:cubicBezTo>
                    <a:cubicBezTo>
                      <a:pt x="10655" y="20655"/>
                      <a:pt x="10498" y="20144"/>
                      <a:pt x="10359" y="19628"/>
                    </a:cubicBezTo>
                    <a:cubicBezTo>
                      <a:pt x="10284" y="19355"/>
                      <a:pt x="10116" y="19210"/>
                      <a:pt x="9843" y="19175"/>
                    </a:cubicBezTo>
                    <a:cubicBezTo>
                      <a:pt x="9739" y="19163"/>
                      <a:pt x="9634" y="19146"/>
                      <a:pt x="9530" y="19140"/>
                    </a:cubicBezTo>
                    <a:cubicBezTo>
                      <a:pt x="9286" y="19122"/>
                      <a:pt x="9118" y="19233"/>
                      <a:pt x="8996" y="19436"/>
                    </a:cubicBezTo>
                    <a:cubicBezTo>
                      <a:pt x="8950" y="19511"/>
                      <a:pt x="8909" y="19587"/>
                      <a:pt x="8863" y="19662"/>
                    </a:cubicBezTo>
                    <a:cubicBezTo>
                      <a:pt x="8619" y="20075"/>
                      <a:pt x="8381" y="20493"/>
                      <a:pt x="8132" y="20899"/>
                    </a:cubicBezTo>
                    <a:cubicBezTo>
                      <a:pt x="7998" y="21126"/>
                      <a:pt x="7836" y="21184"/>
                      <a:pt x="7581" y="21126"/>
                    </a:cubicBezTo>
                    <a:cubicBezTo>
                      <a:pt x="7424" y="21091"/>
                      <a:pt x="7279" y="21039"/>
                      <a:pt x="7134" y="20975"/>
                    </a:cubicBezTo>
                    <a:cubicBezTo>
                      <a:pt x="6879" y="20853"/>
                      <a:pt x="6798" y="20696"/>
                      <a:pt x="6833" y="20411"/>
                    </a:cubicBezTo>
                    <a:cubicBezTo>
                      <a:pt x="6896" y="19883"/>
                      <a:pt x="6949" y="19355"/>
                      <a:pt x="7024" y="18826"/>
                    </a:cubicBezTo>
                    <a:cubicBezTo>
                      <a:pt x="7076" y="18455"/>
                      <a:pt x="6879" y="18251"/>
                      <a:pt x="6589" y="18089"/>
                    </a:cubicBezTo>
                    <a:cubicBezTo>
                      <a:pt x="6305" y="17932"/>
                      <a:pt x="6050" y="17909"/>
                      <a:pt x="5783" y="18130"/>
                    </a:cubicBezTo>
                    <a:cubicBezTo>
                      <a:pt x="5412" y="18426"/>
                      <a:pt x="5023" y="18699"/>
                      <a:pt x="4652" y="18989"/>
                    </a:cubicBezTo>
                    <a:cubicBezTo>
                      <a:pt x="4275" y="19285"/>
                      <a:pt x="4112" y="19349"/>
                      <a:pt x="3648" y="18931"/>
                    </a:cubicBezTo>
                    <a:cubicBezTo>
                      <a:pt x="3619" y="18902"/>
                      <a:pt x="3590" y="18873"/>
                      <a:pt x="3561" y="18844"/>
                    </a:cubicBezTo>
                    <a:cubicBezTo>
                      <a:pt x="3335" y="18611"/>
                      <a:pt x="3312" y="18431"/>
                      <a:pt x="3474" y="18147"/>
                    </a:cubicBezTo>
                    <a:cubicBezTo>
                      <a:pt x="3724" y="17700"/>
                      <a:pt x="3979" y="17247"/>
                      <a:pt x="4228" y="16800"/>
                    </a:cubicBezTo>
                    <a:cubicBezTo>
                      <a:pt x="4298" y="16672"/>
                      <a:pt x="4373" y="16544"/>
                      <a:pt x="4356" y="16388"/>
                    </a:cubicBezTo>
                    <a:cubicBezTo>
                      <a:pt x="4315" y="15917"/>
                      <a:pt x="3793" y="15546"/>
                      <a:pt x="3341" y="15662"/>
                    </a:cubicBezTo>
                    <a:cubicBezTo>
                      <a:pt x="2819" y="15795"/>
                      <a:pt x="2297" y="15929"/>
                      <a:pt x="1781" y="16068"/>
                    </a:cubicBezTo>
                    <a:cubicBezTo>
                      <a:pt x="1572" y="16126"/>
                      <a:pt x="1415" y="16062"/>
                      <a:pt x="1282" y="15900"/>
                    </a:cubicBezTo>
                    <a:cubicBezTo>
                      <a:pt x="1172" y="15766"/>
                      <a:pt x="1102" y="15615"/>
                      <a:pt x="1032" y="15459"/>
                    </a:cubicBezTo>
                    <a:cubicBezTo>
                      <a:pt x="916" y="15186"/>
                      <a:pt x="969" y="14988"/>
                      <a:pt x="1201" y="14808"/>
                    </a:cubicBezTo>
                    <a:cubicBezTo>
                      <a:pt x="1583" y="14501"/>
                      <a:pt x="1972" y="14199"/>
                      <a:pt x="2355" y="13891"/>
                    </a:cubicBezTo>
                    <a:cubicBezTo>
                      <a:pt x="2761" y="13577"/>
                      <a:pt x="2796" y="13444"/>
                      <a:pt x="2662" y="12956"/>
                    </a:cubicBezTo>
                    <a:cubicBezTo>
                      <a:pt x="2569" y="12637"/>
                      <a:pt x="2378" y="12468"/>
                      <a:pt x="2042" y="12433"/>
                    </a:cubicBezTo>
                    <a:cubicBezTo>
                      <a:pt x="1554" y="12381"/>
                      <a:pt x="1073" y="12288"/>
                      <a:pt x="586" y="12236"/>
                    </a:cubicBezTo>
                    <a:cubicBezTo>
                      <a:pt x="307" y="12207"/>
                      <a:pt x="110" y="12097"/>
                      <a:pt x="12" y="11830"/>
                    </a:cubicBezTo>
                    <a:cubicBezTo>
                      <a:pt x="0" y="11580"/>
                      <a:pt x="0" y="11348"/>
                      <a:pt x="0" y="11110"/>
                    </a:cubicBezTo>
                    <a:close/>
                    <a:moveTo>
                      <a:pt x="13474" y="10813"/>
                    </a:moveTo>
                    <a:cubicBezTo>
                      <a:pt x="13491" y="9437"/>
                      <a:pt x="12412" y="8108"/>
                      <a:pt x="10777" y="8113"/>
                    </a:cubicBezTo>
                    <a:cubicBezTo>
                      <a:pt x="9263" y="8119"/>
                      <a:pt x="8103" y="9275"/>
                      <a:pt x="8097" y="10796"/>
                    </a:cubicBezTo>
                    <a:cubicBezTo>
                      <a:pt x="8091" y="12341"/>
                      <a:pt x="9304" y="13479"/>
                      <a:pt x="10765" y="13490"/>
                    </a:cubicBezTo>
                    <a:cubicBezTo>
                      <a:pt x="12262" y="13502"/>
                      <a:pt x="13468" y="12300"/>
                      <a:pt x="13474" y="10813"/>
                    </a:cubicBezTo>
                    <a:close/>
                  </a:path>
                </a:pathLst>
              </a:custGeom>
              <a:solidFill>
                <a:srgbClr val="FFFFFF">
                  <a:alpha val="10000"/>
                </a:srgbClr>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latin typeface="Verdana"/>
                    <a:ea typeface="Verdana"/>
                    <a:cs typeface="Verdana"/>
                    <a:sym typeface="Verdana"/>
                  </a:defRPr>
                </a:pPr>
                <a:endParaRPr kumimoji="0" sz="1300" b="0" i="0" u="none" strike="noStrike" kern="1200" cap="none" spc="0" normalizeH="0" baseline="0" noProof="0">
                  <a:ln>
                    <a:noFill/>
                  </a:ln>
                  <a:solidFill>
                    <a:srgbClr val="000000"/>
                  </a:solidFill>
                  <a:effectLst/>
                  <a:uLnTx/>
                  <a:uFillTx/>
                  <a:latin typeface="Verdana"/>
                  <a:ea typeface="Verdana"/>
                  <a:cs typeface="Verdana"/>
                  <a:sym typeface="Verdana"/>
                </a:endParaRPr>
              </a:p>
            </p:txBody>
          </p:sp>
          <p:grpSp>
            <p:nvGrpSpPr>
              <p:cNvPr id="52" name="Group 63">
                <a:extLst>
                  <a:ext uri="{FF2B5EF4-FFF2-40B4-BE49-F238E27FC236}">
                    <a16:creationId xmlns:a16="http://schemas.microsoft.com/office/drawing/2014/main" id="{7763ED0B-3764-426A-8F79-8ED0E5E3EA54}"/>
                  </a:ext>
                </a:extLst>
              </p:cNvPr>
              <p:cNvGrpSpPr/>
              <p:nvPr/>
            </p:nvGrpSpPr>
            <p:grpSpPr>
              <a:xfrm>
                <a:off x="0" y="0"/>
                <a:ext cx="1305698" cy="1306193"/>
                <a:chOff x="0" y="0"/>
                <a:chExt cx="1305697" cy="1306191"/>
              </a:xfrm>
            </p:grpSpPr>
            <p:sp>
              <p:nvSpPr>
                <p:cNvPr id="53" name="Freeform: Shape 66">
                  <a:extLst>
                    <a:ext uri="{FF2B5EF4-FFF2-40B4-BE49-F238E27FC236}">
                      <a16:creationId xmlns:a16="http://schemas.microsoft.com/office/drawing/2014/main" id="{780683DF-630D-4BCC-B93B-6CBDD785DFD7}"/>
                    </a:ext>
                  </a:extLst>
                </p:cNvPr>
                <p:cNvSpPr/>
                <p:nvPr/>
              </p:nvSpPr>
              <p:spPr>
                <a:xfrm rot="15300000">
                  <a:off x="119524" y="120121"/>
                  <a:ext cx="1066650" cy="1065950"/>
                </a:xfrm>
                <a:custGeom>
                  <a:avLst/>
                  <a:gdLst/>
                  <a:ahLst/>
                  <a:cxnLst>
                    <a:cxn ang="0">
                      <a:pos x="wd2" y="hd2"/>
                    </a:cxn>
                    <a:cxn ang="5400000">
                      <a:pos x="wd2" y="hd2"/>
                    </a:cxn>
                    <a:cxn ang="10800000">
                      <a:pos x="wd2" y="hd2"/>
                    </a:cxn>
                    <a:cxn ang="16200000">
                      <a:pos x="wd2" y="hd2"/>
                    </a:cxn>
                  </a:cxnLst>
                  <a:rect l="0" t="0" r="r" b="b"/>
                  <a:pathLst>
                    <a:path w="21563" h="21541" extrusionOk="0">
                      <a:moveTo>
                        <a:pt x="20441" y="15273"/>
                      </a:moveTo>
                      <a:cubicBezTo>
                        <a:pt x="20221" y="15223"/>
                        <a:pt x="20001" y="15173"/>
                        <a:pt x="19780" y="15128"/>
                      </a:cubicBezTo>
                      <a:cubicBezTo>
                        <a:pt x="19602" y="15086"/>
                        <a:pt x="19419" y="15049"/>
                        <a:pt x="19240" y="15003"/>
                      </a:cubicBezTo>
                      <a:cubicBezTo>
                        <a:pt x="19124" y="14974"/>
                        <a:pt x="19033" y="15007"/>
                        <a:pt x="18958" y="15090"/>
                      </a:cubicBezTo>
                      <a:cubicBezTo>
                        <a:pt x="18804" y="15269"/>
                        <a:pt x="18684" y="15472"/>
                        <a:pt x="18617" y="15701"/>
                      </a:cubicBezTo>
                      <a:cubicBezTo>
                        <a:pt x="18584" y="15809"/>
                        <a:pt x="18634" y="15888"/>
                        <a:pt x="18700" y="15962"/>
                      </a:cubicBezTo>
                      <a:cubicBezTo>
                        <a:pt x="18941" y="16224"/>
                        <a:pt x="19186" y="16486"/>
                        <a:pt x="19427" y="16743"/>
                      </a:cubicBezTo>
                      <a:cubicBezTo>
                        <a:pt x="19610" y="16938"/>
                        <a:pt x="19618" y="17055"/>
                        <a:pt x="19473" y="17279"/>
                      </a:cubicBezTo>
                      <a:cubicBezTo>
                        <a:pt x="19465" y="17291"/>
                        <a:pt x="19456" y="17308"/>
                        <a:pt x="19444" y="17320"/>
                      </a:cubicBezTo>
                      <a:cubicBezTo>
                        <a:pt x="19170" y="17690"/>
                        <a:pt x="19049" y="17694"/>
                        <a:pt x="18713" y="17503"/>
                      </a:cubicBezTo>
                      <a:cubicBezTo>
                        <a:pt x="18439" y="17345"/>
                        <a:pt x="18148" y="17204"/>
                        <a:pt x="17869" y="17055"/>
                      </a:cubicBezTo>
                      <a:cubicBezTo>
                        <a:pt x="17753" y="16992"/>
                        <a:pt x="17645" y="16992"/>
                        <a:pt x="17541" y="17067"/>
                      </a:cubicBezTo>
                      <a:cubicBezTo>
                        <a:pt x="17375" y="17183"/>
                        <a:pt x="17234" y="17325"/>
                        <a:pt x="17113" y="17487"/>
                      </a:cubicBezTo>
                      <a:cubicBezTo>
                        <a:pt x="17026" y="17603"/>
                        <a:pt x="17022" y="17719"/>
                        <a:pt x="17092" y="17848"/>
                      </a:cubicBezTo>
                      <a:cubicBezTo>
                        <a:pt x="17263" y="18159"/>
                        <a:pt x="17429" y="18475"/>
                        <a:pt x="17591" y="18791"/>
                      </a:cubicBezTo>
                      <a:cubicBezTo>
                        <a:pt x="17703" y="19011"/>
                        <a:pt x="17687" y="19110"/>
                        <a:pt x="17508" y="19281"/>
                      </a:cubicBezTo>
                      <a:cubicBezTo>
                        <a:pt x="17479" y="19306"/>
                        <a:pt x="17454" y="19335"/>
                        <a:pt x="17425" y="19355"/>
                      </a:cubicBezTo>
                      <a:cubicBezTo>
                        <a:pt x="17159" y="19551"/>
                        <a:pt x="17022" y="19646"/>
                        <a:pt x="16710" y="19331"/>
                      </a:cubicBezTo>
                      <a:cubicBezTo>
                        <a:pt x="16486" y="19102"/>
                        <a:pt x="16245" y="18899"/>
                        <a:pt x="16012" y="18678"/>
                      </a:cubicBezTo>
                      <a:cubicBezTo>
                        <a:pt x="15904" y="18575"/>
                        <a:pt x="15788" y="18554"/>
                        <a:pt x="15655" y="18608"/>
                      </a:cubicBezTo>
                      <a:cubicBezTo>
                        <a:pt x="15480" y="18678"/>
                        <a:pt x="15314" y="18770"/>
                        <a:pt x="15165" y="18886"/>
                      </a:cubicBezTo>
                      <a:cubicBezTo>
                        <a:pt x="15040" y="18982"/>
                        <a:pt x="15007" y="19102"/>
                        <a:pt x="15044" y="19252"/>
                      </a:cubicBezTo>
                      <a:cubicBezTo>
                        <a:pt x="15131" y="19613"/>
                        <a:pt x="15215" y="19978"/>
                        <a:pt x="15293" y="20340"/>
                      </a:cubicBezTo>
                      <a:cubicBezTo>
                        <a:pt x="15327" y="20498"/>
                        <a:pt x="15273" y="20618"/>
                        <a:pt x="15131" y="20701"/>
                      </a:cubicBezTo>
                      <a:cubicBezTo>
                        <a:pt x="15036" y="20759"/>
                        <a:pt x="14932" y="20805"/>
                        <a:pt x="14824" y="20838"/>
                      </a:cubicBezTo>
                      <a:cubicBezTo>
                        <a:pt x="14604" y="20909"/>
                        <a:pt x="14479" y="20867"/>
                        <a:pt x="14355" y="20672"/>
                      </a:cubicBezTo>
                      <a:cubicBezTo>
                        <a:pt x="14172" y="20381"/>
                        <a:pt x="13985" y="20095"/>
                        <a:pt x="13810" y="19796"/>
                      </a:cubicBezTo>
                      <a:cubicBezTo>
                        <a:pt x="13715" y="19634"/>
                        <a:pt x="13590" y="19571"/>
                        <a:pt x="13403" y="19605"/>
                      </a:cubicBezTo>
                      <a:cubicBezTo>
                        <a:pt x="13254" y="19634"/>
                        <a:pt x="13108" y="19671"/>
                        <a:pt x="12967" y="19721"/>
                      </a:cubicBezTo>
                      <a:cubicBezTo>
                        <a:pt x="12772" y="19791"/>
                        <a:pt x="12709" y="19875"/>
                        <a:pt x="12701" y="20082"/>
                      </a:cubicBezTo>
                      <a:cubicBezTo>
                        <a:pt x="12689" y="20410"/>
                        <a:pt x="12680" y="20734"/>
                        <a:pt x="12672" y="21062"/>
                      </a:cubicBezTo>
                      <a:cubicBezTo>
                        <a:pt x="12664" y="21361"/>
                        <a:pt x="12589" y="21457"/>
                        <a:pt x="12294" y="21511"/>
                      </a:cubicBezTo>
                      <a:cubicBezTo>
                        <a:pt x="12215" y="21527"/>
                        <a:pt x="12136" y="21536"/>
                        <a:pt x="12057" y="21540"/>
                      </a:cubicBezTo>
                      <a:cubicBezTo>
                        <a:pt x="11862" y="21552"/>
                        <a:pt x="11737" y="21473"/>
                        <a:pt x="11675" y="21282"/>
                      </a:cubicBezTo>
                      <a:cubicBezTo>
                        <a:pt x="11563" y="20934"/>
                        <a:pt x="11455" y="20589"/>
                        <a:pt x="11355" y="20240"/>
                      </a:cubicBezTo>
                      <a:cubicBezTo>
                        <a:pt x="11309" y="20082"/>
                        <a:pt x="11214" y="20007"/>
                        <a:pt x="11056" y="19983"/>
                      </a:cubicBezTo>
                      <a:cubicBezTo>
                        <a:pt x="10873" y="19958"/>
                        <a:pt x="10690" y="19958"/>
                        <a:pt x="10507" y="19987"/>
                      </a:cubicBezTo>
                      <a:cubicBezTo>
                        <a:pt x="10370" y="20007"/>
                        <a:pt x="10283" y="20078"/>
                        <a:pt x="10241" y="20215"/>
                      </a:cubicBezTo>
                      <a:cubicBezTo>
                        <a:pt x="10146" y="20543"/>
                        <a:pt x="10042" y="20871"/>
                        <a:pt x="9938" y="21199"/>
                      </a:cubicBezTo>
                      <a:cubicBezTo>
                        <a:pt x="9847" y="21494"/>
                        <a:pt x="9730" y="21569"/>
                        <a:pt x="9427" y="21527"/>
                      </a:cubicBezTo>
                      <a:cubicBezTo>
                        <a:pt x="8970" y="21465"/>
                        <a:pt x="8916" y="21403"/>
                        <a:pt x="8912" y="20946"/>
                      </a:cubicBezTo>
                      <a:cubicBezTo>
                        <a:pt x="8908" y="20647"/>
                        <a:pt x="8895" y="20352"/>
                        <a:pt x="8887" y="20053"/>
                      </a:cubicBezTo>
                      <a:cubicBezTo>
                        <a:pt x="8883" y="19916"/>
                        <a:pt x="8829" y="19808"/>
                        <a:pt x="8700" y="19754"/>
                      </a:cubicBezTo>
                      <a:cubicBezTo>
                        <a:pt x="8505" y="19671"/>
                        <a:pt x="8305" y="19613"/>
                        <a:pt x="8093" y="19600"/>
                      </a:cubicBezTo>
                      <a:cubicBezTo>
                        <a:pt x="7965" y="19592"/>
                        <a:pt x="7873" y="19642"/>
                        <a:pt x="7803" y="19754"/>
                      </a:cubicBezTo>
                      <a:cubicBezTo>
                        <a:pt x="7624" y="20053"/>
                        <a:pt x="7433" y="20344"/>
                        <a:pt x="7250" y="20639"/>
                      </a:cubicBezTo>
                      <a:cubicBezTo>
                        <a:pt x="7105" y="20871"/>
                        <a:pt x="6993" y="20913"/>
                        <a:pt x="6735" y="20826"/>
                      </a:cubicBezTo>
                      <a:cubicBezTo>
                        <a:pt x="6722" y="20821"/>
                        <a:pt x="6710" y="20817"/>
                        <a:pt x="6698" y="20813"/>
                      </a:cubicBezTo>
                      <a:cubicBezTo>
                        <a:pt x="6299" y="20651"/>
                        <a:pt x="6220" y="20560"/>
                        <a:pt x="6324" y="20161"/>
                      </a:cubicBezTo>
                      <a:cubicBezTo>
                        <a:pt x="6403" y="19858"/>
                        <a:pt x="6461" y="19551"/>
                        <a:pt x="6535" y="19243"/>
                      </a:cubicBezTo>
                      <a:cubicBezTo>
                        <a:pt x="6573" y="19085"/>
                        <a:pt x="6531" y="18965"/>
                        <a:pt x="6398" y="18870"/>
                      </a:cubicBezTo>
                      <a:cubicBezTo>
                        <a:pt x="6257" y="18770"/>
                        <a:pt x="6112" y="18683"/>
                        <a:pt x="5954" y="18612"/>
                      </a:cubicBezTo>
                      <a:cubicBezTo>
                        <a:pt x="5804" y="18546"/>
                        <a:pt x="5675" y="18570"/>
                        <a:pt x="5551" y="18687"/>
                      </a:cubicBezTo>
                      <a:cubicBezTo>
                        <a:pt x="5302" y="18924"/>
                        <a:pt x="5048" y="19156"/>
                        <a:pt x="4799" y="19389"/>
                      </a:cubicBezTo>
                      <a:cubicBezTo>
                        <a:pt x="4612" y="19567"/>
                        <a:pt x="4491" y="19576"/>
                        <a:pt x="4271" y="19438"/>
                      </a:cubicBezTo>
                      <a:cubicBezTo>
                        <a:pt x="4246" y="19422"/>
                        <a:pt x="4221" y="19405"/>
                        <a:pt x="4196" y="19389"/>
                      </a:cubicBezTo>
                      <a:cubicBezTo>
                        <a:pt x="3877" y="19160"/>
                        <a:pt x="3847" y="19040"/>
                        <a:pt x="4030" y="18695"/>
                      </a:cubicBezTo>
                      <a:cubicBezTo>
                        <a:pt x="4180" y="18413"/>
                        <a:pt x="4325" y="18130"/>
                        <a:pt x="4479" y="17852"/>
                      </a:cubicBezTo>
                      <a:cubicBezTo>
                        <a:pt x="4558" y="17707"/>
                        <a:pt x="4545" y="17582"/>
                        <a:pt x="4446" y="17457"/>
                      </a:cubicBezTo>
                      <a:cubicBezTo>
                        <a:pt x="4338" y="17320"/>
                        <a:pt x="4213" y="17196"/>
                        <a:pt x="4072" y="17088"/>
                      </a:cubicBezTo>
                      <a:cubicBezTo>
                        <a:pt x="3947" y="16992"/>
                        <a:pt x="3823" y="16984"/>
                        <a:pt x="3685" y="17059"/>
                      </a:cubicBezTo>
                      <a:cubicBezTo>
                        <a:pt x="3378" y="17225"/>
                        <a:pt x="3066" y="17391"/>
                        <a:pt x="2751" y="17553"/>
                      </a:cubicBezTo>
                      <a:cubicBezTo>
                        <a:pt x="2530" y="17669"/>
                        <a:pt x="2402" y="17640"/>
                        <a:pt x="2240" y="17457"/>
                      </a:cubicBezTo>
                      <a:cubicBezTo>
                        <a:pt x="2227" y="17445"/>
                        <a:pt x="2219" y="17433"/>
                        <a:pt x="2206" y="17420"/>
                      </a:cubicBezTo>
                      <a:cubicBezTo>
                        <a:pt x="1920" y="17088"/>
                        <a:pt x="1924" y="16972"/>
                        <a:pt x="2227" y="16656"/>
                      </a:cubicBezTo>
                      <a:cubicBezTo>
                        <a:pt x="2439" y="16432"/>
                        <a:pt x="2638" y="16203"/>
                        <a:pt x="2854" y="15987"/>
                      </a:cubicBezTo>
                      <a:cubicBezTo>
                        <a:pt x="2963" y="15875"/>
                        <a:pt x="2983" y="15759"/>
                        <a:pt x="2929" y="15622"/>
                      </a:cubicBezTo>
                      <a:cubicBezTo>
                        <a:pt x="2859" y="15443"/>
                        <a:pt x="2759" y="15277"/>
                        <a:pt x="2643" y="15123"/>
                      </a:cubicBezTo>
                      <a:cubicBezTo>
                        <a:pt x="2547" y="14999"/>
                        <a:pt x="2418" y="14986"/>
                        <a:pt x="2281" y="15020"/>
                      </a:cubicBezTo>
                      <a:cubicBezTo>
                        <a:pt x="1978" y="15090"/>
                        <a:pt x="1679" y="15161"/>
                        <a:pt x="1375" y="15227"/>
                      </a:cubicBezTo>
                      <a:cubicBezTo>
                        <a:pt x="1334" y="15236"/>
                        <a:pt x="1292" y="15248"/>
                        <a:pt x="1255" y="15256"/>
                      </a:cubicBezTo>
                      <a:cubicBezTo>
                        <a:pt x="1026" y="15298"/>
                        <a:pt x="910" y="15244"/>
                        <a:pt x="806" y="15036"/>
                      </a:cubicBezTo>
                      <a:cubicBezTo>
                        <a:pt x="769" y="14957"/>
                        <a:pt x="731" y="14878"/>
                        <a:pt x="702" y="14795"/>
                      </a:cubicBezTo>
                      <a:cubicBezTo>
                        <a:pt x="628" y="14575"/>
                        <a:pt x="669" y="14451"/>
                        <a:pt x="869" y="14326"/>
                      </a:cubicBezTo>
                      <a:cubicBezTo>
                        <a:pt x="1151" y="14148"/>
                        <a:pt x="1438" y="13969"/>
                        <a:pt x="1720" y="13794"/>
                      </a:cubicBezTo>
                      <a:cubicBezTo>
                        <a:pt x="1945" y="13653"/>
                        <a:pt x="1978" y="13574"/>
                        <a:pt x="1924" y="13317"/>
                      </a:cubicBezTo>
                      <a:cubicBezTo>
                        <a:pt x="1891" y="13172"/>
                        <a:pt x="1853" y="13022"/>
                        <a:pt x="1795" y="12885"/>
                      </a:cubicBezTo>
                      <a:cubicBezTo>
                        <a:pt x="1737" y="12748"/>
                        <a:pt x="1637" y="12681"/>
                        <a:pt x="1483" y="12677"/>
                      </a:cubicBezTo>
                      <a:cubicBezTo>
                        <a:pt x="1147" y="12673"/>
                        <a:pt x="815" y="12661"/>
                        <a:pt x="478" y="12648"/>
                      </a:cubicBezTo>
                      <a:cubicBezTo>
                        <a:pt x="175" y="12640"/>
                        <a:pt x="83" y="12561"/>
                        <a:pt x="29" y="12270"/>
                      </a:cubicBezTo>
                      <a:cubicBezTo>
                        <a:pt x="25" y="12241"/>
                        <a:pt x="17" y="12212"/>
                        <a:pt x="13" y="12183"/>
                      </a:cubicBezTo>
                      <a:cubicBezTo>
                        <a:pt x="-33" y="11813"/>
                        <a:pt x="29" y="11718"/>
                        <a:pt x="391" y="11610"/>
                      </a:cubicBezTo>
                      <a:cubicBezTo>
                        <a:pt x="690" y="11519"/>
                        <a:pt x="989" y="11419"/>
                        <a:pt x="1292" y="11336"/>
                      </a:cubicBezTo>
                      <a:cubicBezTo>
                        <a:pt x="1459" y="11290"/>
                        <a:pt x="1546" y="11195"/>
                        <a:pt x="1562" y="11033"/>
                      </a:cubicBezTo>
                      <a:cubicBezTo>
                        <a:pt x="1579" y="10842"/>
                        <a:pt x="1587" y="10646"/>
                        <a:pt x="1550" y="10455"/>
                      </a:cubicBezTo>
                      <a:cubicBezTo>
                        <a:pt x="1529" y="10331"/>
                        <a:pt x="1459" y="10256"/>
                        <a:pt x="1338" y="10219"/>
                      </a:cubicBezTo>
                      <a:cubicBezTo>
                        <a:pt x="1018" y="10123"/>
                        <a:pt x="698" y="10024"/>
                        <a:pt x="378" y="9924"/>
                      </a:cubicBezTo>
                      <a:cubicBezTo>
                        <a:pt x="29" y="9816"/>
                        <a:pt x="-8" y="9758"/>
                        <a:pt x="13" y="9392"/>
                      </a:cubicBezTo>
                      <a:cubicBezTo>
                        <a:pt x="17" y="9318"/>
                        <a:pt x="33" y="9243"/>
                        <a:pt x="50" y="9172"/>
                      </a:cubicBezTo>
                      <a:cubicBezTo>
                        <a:pt x="100" y="8989"/>
                        <a:pt x="204" y="8906"/>
                        <a:pt x="395" y="8898"/>
                      </a:cubicBezTo>
                      <a:cubicBezTo>
                        <a:pt x="707" y="8886"/>
                        <a:pt x="1014" y="8877"/>
                        <a:pt x="1326" y="8869"/>
                      </a:cubicBezTo>
                      <a:cubicBezTo>
                        <a:pt x="1371" y="8869"/>
                        <a:pt x="1417" y="8865"/>
                        <a:pt x="1463" y="8865"/>
                      </a:cubicBezTo>
                      <a:cubicBezTo>
                        <a:pt x="1670" y="8873"/>
                        <a:pt x="1778" y="8757"/>
                        <a:pt x="1832" y="8574"/>
                      </a:cubicBezTo>
                      <a:cubicBezTo>
                        <a:pt x="1874" y="8437"/>
                        <a:pt x="1911" y="8300"/>
                        <a:pt x="1940" y="8163"/>
                      </a:cubicBezTo>
                      <a:cubicBezTo>
                        <a:pt x="1978" y="7972"/>
                        <a:pt x="1932" y="7881"/>
                        <a:pt x="1766" y="7773"/>
                      </a:cubicBezTo>
                      <a:cubicBezTo>
                        <a:pt x="1483" y="7594"/>
                        <a:pt x="1197" y="7415"/>
                        <a:pt x="914" y="7241"/>
                      </a:cubicBezTo>
                      <a:cubicBezTo>
                        <a:pt x="661" y="7083"/>
                        <a:pt x="623" y="6983"/>
                        <a:pt x="723" y="6697"/>
                      </a:cubicBezTo>
                      <a:cubicBezTo>
                        <a:pt x="752" y="6606"/>
                        <a:pt x="790" y="6514"/>
                        <a:pt x="844" y="6435"/>
                      </a:cubicBezTo>
                      <a:cubicBezTo>
                        <a:pt x="931" y="6302"/>
                        <a:pt x="1051" y="6236"/>
                        <a:pt x="1218" y="6277"/>
                      </a:cubicBezTo>
                      <a:cubicBezTo>
                        <a:pt x="1571" y="6361"/>
                        <a:pt x="1928" y="6435"/>
                        <a:pt x="2281" y="6523"/>
                      </a:cubicBezTo>
                      <a:cubicBezTo>
                        <a:pt x="2443" y="6564"/>
                        <a:pt x="2568" y="6527"/>
                        <a:pt x="2668" y="6394"/>
                      </a:cubicBezTo>
                      <a:cubicBezTo>
                        <a:pt x="2771" y="6253"/>
                        <a:pt x="2863" y="6099"/>
                        <a:pt x="2929" y="5937"/>
                      </a:cubicBezTo>
                      <a:cubicBezTo>
                        <a:pt x="2987" y="5792"/>
                        <a:pt x="2971" y="5667"/>
                        <a:pt x="2854" y="5547"/>
                      </a:cubicBezTo>
                      <a:cubicBezTo>
                        <a:pt x="2614" y="5302"/>
                        <a:pt x="2385" y="5048"/>
                        <a:pt x="2148" y="4795"/>
                      </a:cubicBezTo>
                      <a:cubicBezTo>
                        <a:pt x="1965" y="4595"/>
                        <a:pt x="1957" y="4483"/>
                        <a:pt x="2107" y="4259"/>
                      </a:cubicBezTo>
                      <a:cubicBezTo>
                        <a:pt x="2132" y="4226"/>
                        <a:pt x="2152" y="4188"/>
                        <a:pt x="2177" y="4155"/>
                      </a:cubicBezTo>
                      <a:cubicBezTo>
                        <a:pt x="2389" y="3877"/>
                        <a:pt x="2505" y="3852"/>
                        <a:pt x="2817" y="4014"/>
                      </a:cubicBezTo>
                      <a:cubicBezTo>
                        <a:pt x="3108" y="4168"/>
                        <a:pt x="3399" y="4317"/>
                        <a:pt x="3681" y="4475"/>
                      </a:cubicBezTo>
                      <a:cubicBezTo>
                        <a:pt x="3831" y="4558"/>
                        <a:pt x="3964" y="4542"/>
                        <a:pt x="4088" y="4438"/>
                      </a:cubicBezTo>
                      <a:cubicBezTo>
                        <a:pt x="4213" y="4334"/>
                        <a:pt x="4329" y="4218"/>
                        <a:pt x="4437" y="4093"/>
                      </a:cubicBezTo>
                      <a:cubicBezTo>
                        <a:pt x="4545" y="3964"/>
                        <a:pt x="4570" y="3835"/>
                        <a:pt x="4483" y="3678"/>
                      </a:cubicBezTo>
                      <a:cubicBezTo>
                        <a:pt x="4309" y="3366"/>
                        <a:pt x="4147" y="3051"/>
                        <a:pt x="3980" y="2735"/>
                      </a:cubicBezTo>
                      <a:cubicBezTo>
                        <a:pt x="3872" y="2527"/>
                        <a:pt x="3897" y="2415"/>
                        <a:pt x="4068" y="2257"/>
                      </a:cubicBezTo>
                      <a:cubicBezTo>
                        <a:pt x="4147" y="2183"/>
                        <a:pt x="4234" y="2120"/>
                        <a:pt x="4329" y="2062"/>
                      </a:cubicBezTo>
                      <a:cubicBezTo>
                        <a:pt x="4496" y="1967"/>
                        <a:pt x="4612" y="1979"/>
                        <a:pt x="4753" y="2108"/>
                      </a:cubicBezTo>
                      <a:cubicBezTo>
                        <a:pt x="4994" y="2328"/>
                        <a:pt x="5235" y="2552"/>
                        <a:pt x="5472" y="2776"/>
                      </a:cubicBezTo>
                      <a:cubicBezTo>
                        <a:pt x="5721" y="3013"/>
                        <a:pt x="5775" y="3021"/>
                        <a:pt x="6078" y="2864"/>
                      </a:cubicBezTo>
                      <a:cubicBezTo>
                        <a:pt x="6199" y="2801"/>
                        <a:pt x="6311" y="2735"/>
                        <a:pt x="6419" y="2652"/>
                      </a:cubicBezTo>
                      <a:cubicBezTo>
                        <a:pt x="6535" y="2556"/>
                        <a:pt x="6573" y="2444"/>
                        <a:pt x="6535" y="2295"/>
                      </a:cubicBezTo>
                      <a:cubicBezTo>
                        <a:pt x="6448" y="1950"/>
                        <a:pt x="6373" y="1601"/>
                        <a:pt x="6295" y="1256"/>
                      </a:cubicBezTo>
                      <a:cubicBezTo>
                        <a:pt x="6245" y="1032"/>
                        <a:pt x="6299" y="920"/>
                        <a:pt x="6498" y="812"/>
                      </a:cubicBezTo>
                      <a:cubicBezTo>
                        <a:pt x="6590" y="766"/>
                        <a:pt x="6681" y="729"/>
                        <a:pt x="6776" y="696"/>
                      </a:cubicBezTo>
                      <a:cubicBezTo>
                        <a:pt x="6980" y="633"/>
                        <a:pt x="7096" y="671"/>
                        <a:pt x="7217" y="854"/>
                      </a:cubicBezTo>
                      <a:cubicBezTo>
                        <a:pt x="7408" y="1148"/>
                        <a:pt x="7599" y="1443"/>
                        <a:pt x="7774" y="1751"/>
                      </a:cubicBezTo>
                      <a:cubicBezTo>
                        <a:pt x="7865" y="1908"/>
                        <a:pt x="7990" y="1962"/>
                        <a:pt x="8160" y="1938"/>
                      </a:cubicBezTo>
                      <a:cubicBezTo>
                        <a:pt x="8339" y="1908"/>
                        <a:pt x="8513" y="1863"/>
                        <a:pt x="8679" y="1792"/>
                      </a:cubicBezTo>
                      <a:cubicBezTo>
                        <a:pt x="8800" y="1738"/>
                        <a:pt x="8866" y="1655"/>
                        <a:pt x="8870" y="1514"/>
                      </a:cubicBezTo>
                      <a:cubicBezTo>
                        <a:pt x="8879" y="1153"/>
                        <a:pt x="8899" y="795"/>
                        <a:pt x="8912" y="434"/>
                      </a:cubicBezTo>
                      <a:cubicBezTo>
                        <a:pt x="8920" y="202"/>
                        <a:pt x="8995" y="102"/>
                        <a:pt x="9219" y="40"/>
                      </a:cubicBezTo>
                      <a:cubicBezTo>
                        <a:pt x="9257" y="31"/>
                        <a:pt x="9294" y="19"/>
                        <a:pt x="9332" y="15"/>
                      </a:cubicBezTo>
                      <a:cubicBezTo>
                        <a:pt x="9743" y="-31"/>
                        <a:pt x="9843" y="15"/>
                        <a:pt x="9951" y="393"/>
                      </a:cubicBezTo>
                      <a:cubicBezTo>
                        <a:pt x="10038" y="700"/>
                        <a:pt x="10142" y="999"/>
                        <a:pt x="10225" y="1306"/>
                      </a:cubicBezTo>
                      <a:cubicBezTo>
                        <a:pt x="10266" y="1452"/>
                        <a:pt x="10354" y="1531"/>
                        <a:pt x="10495" y="1551"/>
                      </a:cubicBezTo>
                      <a:cubicBezTo>
                        <a:pt x="10690" y="1576"/>
                        <a:pt x="10890" y="1576"/>
                        <a:pt x="11085" y="1551"/>
                      </a:cubicBezTo>
                      <a:cubicBezTo>
                        <a:pt x="11222" y="1535"/>
                        <a:pt x="11305" y="1452"/>
                        <a:pt x="11347" y="1315"/>
                      </a:cubicBezTo>
                      <a:cubicBezTo>
                        <a:pt x="11446" y="978"/>
                        <a:pt x="11550" y="642"/>
                        <a:pt x="11654" y="305"/>
                      </a:cubicBezTo>
                      <a:cubicBezTo>
                        <a:pt x="11733" y="56"/>
                        <a:pt x="11812" y="-2"/>
                        <a:pt x="12074" y="2"/>
                      </a:cubicBezTo>
                      <a:cubicBezTo>
                        <a:pt x="12111" y="2"/>
                        <a:pt x="12148" y="2"/>
                        <a:pt x="12186" y="6"/>
                      </a:cubicBezTo>
                      <a:cubicBezTo>
                        <a:pt x="12556" y="44"/>
                        <a:pt x="12659" y="156"/>
                        <a:pt x="12668" y="526"/>
                      </a:cubicBezTo>
                      <a:cubicBezTo>
                        <a:pt x="12676" y="849"/>
                        <a:pt x="12689" y="1169"/>
                        <a:pt x="12697" y="1493"/>
                      </a:cubicBezTo>
                      <a:cubicBezTo>
                        <a:pt x="12701" y="1622"/>
                        <a:pt x="12747" y="1722"/>
                        <a:pt x="12867" y="1776"/>
                      </a:cubicBezTo>
                      <a:cubicBezTo>
                        <a:pt x="13062" y="1863"/>
                        <a:pt x="13266" y="1921"/>
                        <a:pt x="13482" y="1938"/>
                      </a:cubicBezTo>
                      <a:cubicBezTo>
                        <a:pt x="13615" y="1946"/>
                        <a:pt x="13706" y="1892"/>
                        <a:pt x="13773" y="1784"/>
                      </a:cubicBezTo>
                      <a:cubicBezTo>
                        <a:pt x="13956" y="1489"/>
                        <a:pt x="14143" y="1194"/>
                        <a:pt x="14325" y="899"/>
                      </a:cubicBezTo>
                      <a:cubicBezTo>
                        <a:pt x="14483" y="650"/>
                        <a:pt x="14579" y="617"/>
                        <a:pt x="14861" y="712"/>
                      </a:cubicBezTo>
                      <a:cubicBezTo>
                        <a:pt x="14895" y="725"/>
                        <a:pt x="14924" y="733"/>
                        <a:pt x="14957" y="746"/>
                      </a:cubicBezTo>
                      <a:cubicBezTo>
                        <a:pt x="15285" y="887"/>
                        <a:pt x="15339" y="991"/>
                        <a:pt x="15260" y="1340"/>
                      </a:cubicBezTo>
                      <a:cubicBezTo>
                        <a:pt x="15190" y="1651"/>
                        <a:pt x="15119" y="1958"/>
                        <a:pt x="15044" y="2270"/>
                      </a:cubicBezTo>
                      <a:cubicBezTo>
                        <a:pt x="15003" y="2440"/>
                        <a:pt x="15044" y="2573"/>
                        <a:pt x="15194" y="2673"/>
                      </a:cubicBezTo>
                      <a:cubicBezTo>
                        <a:pt x="15347" y="2776"/>
                        <a:pt x="15501" y="2872"/>
                        <a:pt x="15676" y="2938"/>
                      </a:cubicBezTo>
                      <a:cubicBezTo>
                        <a:pt x="15800" y="2984"/>
                        <a:pt x="15900" y="2955"/>
                        <a:pt x="15996" y="2864"/>
                      </a:cubicBezTo>
                      <a:cubicBezTo>
                        <a:pt x="16249" y="2623"/>
                        <a:pt x="16502" y="2390"/>
                        <a:pt x="16760" y="2154"/>
                      </a:cubicBezTo>
                      <a:cubicBezTo>
                        <a:pt x="16972" y="1954"/>
                        <a:pt x="17088" y="1946"/>
                        <a:pt x="17325" y="2108"/>
                      </a:cubicBezTo>
                      <a:cubicBezTo>
                        <a:pt x="17338" y="2116"/>
                        <a:pt x="17346" y="2120"/>
                        <a:pt x="17354" y="2129"/>
                      </a:cubicBezTo>
                      <a:cubicBezTo>
                        <a:pt x="17757" y="2419"/>
                        <a:pt x="17699" y="2544"/>
                        <a:pt x="17533" y="2847"/>
                      </a:cubicBezTo>
                      <a:cubicBezTo>
                        <a:pt x="17383" y="3121"/>
                        <a:pt x="17242" y="3404"/>
                        <a:pt x="17088" y="3678"/>
                      </a:cubicBezTo>
                      <a:cubicBezTo>
                        <a:pt x="17009" y="3823"/>
                        <a:pt x="17026" y="3948"/>
                        <a:pt x="17126" y="4072"/>
                      </a:cubicBezTo>
                      <a:cubicBezTo>
                        <a:pt x="17238" y="4209"/>
                        <a:pt x="17363" y="4334"/>
                        <a:pt x="17500" y="4442"/>
                      </a:cubicBezTo>
                      <a:cubicBezTo>
                        <a:pt x="17616" y="4533"/>
                        <a:pt x="17736" y="4546"/>
                        <a:pt x="17874" y="4475"/>
                      </a:cubicBezTo>
                      <a:cubicBezTo>
                        <a:pt x="18185" y="4305"/>
                        <a:pt x="18501" y="4139"/>
                        <a:pt x="18817" y="3977"/>
                      </a:cubicBezTo>
                      <a:cubicBezTo>
                        <a:pt x="19041" y="3860"/>
                        <a:pt x="19170" y="3885"/>
                        <a:pt x="19332" y="4085"/>
                      </a:cubicBezTo>
                      <a:cubicBezTo>
                        <a:pt x="19390" y="4151"/>
                        <a:pt x="19444" y="4222"/>
                        <a:pt x="19490" y="4296"/>
                      </a:cubicBezTo>
                      <a:cubicBezTo>
                        <a:pt x="19606" y="4479"/>
                        <a:pt x="19594" y="4600"/>
                        <a:pt x="19448" y="4762"/>
                      </a:cubicBezTo>
                      <a:cubicBezTo>
                        <a:pt x="19199" y="5032"/>
                        <a:pt x="18950" y="5306"/>
                        <a:pt x="18696" y="5571"/>
                      </a:cubicBezTo>
                      <a:cubicBezTo>
                        <a:pt x="18601" y="5671"/>
                        <a:pt x="18580" y="5779"/>
                        <a:pt x="18630" y="5904"/>
                      </a:cubicBezTo>
                      <a:cubicBezTo>
                        <a:pt x="18704" y="6082"/>
                        <a:pt x="18796" y="6248"/>
                        <a:pt x="18916" y="6402"/>
                      </a:cubicBezTo>
                      <a:cubicBezTo>
                        <a:pt x="19012" y="6527"/>
                        <a:pt x="19128" y="6560"/>
                        <a:pt x="19282" y="6523"/>
                      </a:cubicBezTo>
                      <a:cubicBezTo>
                        <a:pt x="19635" y="6435"/>
                        <a:pt x="19992" y="6356"/>
                        <a:pt x="20346" y="6282"/>
                      </a:cubicBezTo>
                      <a:cubicBezTo>
                        <a:pt x="20532" y="6240"/>
                        <a:pt x="20645" y="6294"/>
                        <a:pt x="20740" y="6464"/>
                      </a:cubicBezTo>
                      <a:cubicBezTo>
                        <a:pt x="20790" y="6556"/>
                        <a:pt x="20832" y="6651"/>
                        <a:pt x="20865" y="6751"/>
                      </a:cubicBezTo>
                      <a:cubicBezTo>
                        <a:pt x="20935" y="6979"/>
                        <a:pt x="20898" y="7087"/>
                        <a:pt x="20695" y="7216"/>
                      </a:cubicBezTo>
                      <a:cubicBezTo>
                        <a:pt x="20404" y="7399"/>
                        <a:pt x="20117" y="7590"/>
                        <a:pt x="19818" y="7760"/>
                      </a:cubicBezTo>
                      <a:cubicBezTo>
                        <a:pt x="19648" y="7860"/>
                        <a:pt x="19602" y="7993"/>
                        <a:pt x="19631" y="8167"/>
                      </a:cubicBezTo>
                      <a:cubicBezTo>
                        <a:pt x="19656" y="8329"/>
                        <a:pt x="19702" y="8487"/>
                        <a:pt x="19760" y="8641"/>
                      </a:cubicBezTo>
                      <a:cubicBezTo>
                        <a:pt x="19814" y="8782"/>
                        <a:pt x="19909" y="8857"/>
                        <a:pt x="20071" y="8861"/>
                      </a:cubicBezTo>
                      <a:cubicBezTo>
                        <a:pt x="20437" y="8865"/>
                        <a:pt x="20798" y="8890"/>
                        <a:pt x="21164" y="8902"/>
                      </a:cubicBezTo>
                      <a:cubicBezTo>
                        <a:pt x="21363" y="8911"/>
                        <a:pt x="21463" y="8989"/>
                        <a:pt x="21517" y="9180"/>
                      </a:cubicBezTo>
                      <a:cubicBezTo>
                        <a:pt x="21550" y="9288"/>
                        <a:pt x="21563" y="9401"/>
                        <a:pt x="21563" y="9517"/>
                      </a:cubicBezTo>
                      <a:cubicBezTo>
                        <a:pt x="21563" y="9741"/>
                        <a:pt x="21501" y="9832"/>
                        <a:pt x="21293" y="9899"/>
                      </a:cubicBezTo>
                      <a:cubicBezTo>
                        <a:pt x="20965" y="10003"/>
                        <a:pt x="20636" y="10102"/>
                        <a:pt x="20308" y="10202"/>
                      </a:cubicBezTo>
                      <a:cubicBezTo>
                        <a:pt x="20071" y="10273"/>
                        <a:pt x="20009" y="10347"/>
                        <a:pt x="20001" y="10592"/>
                      </a:cubicBezTo>
                      <a:cubicBezTo>
                        <a:pt x="19997" y="10763"/>
                        <a:pt x="19984" y="10937"/>
                        <a:pt x="20021" y="11107"/>
                      </a:cubicBezTo>
                      <a:cubicBezTo>
                        <a:pt x="20046" y="11224"/>
                        <a:pt x="20117" y="11294"/>
                        <a:pt x="20233" y="11332"/>
                      </a:cubicBezTo>
                      <a:cubicBezTo>
                        <a:pt x="20578" y="11436"/>
                        <a:pt x="20923" y="11539"/>
                        <a:pt x="21268" y="11647"/>
                      </a:cubicBezTo>
                      <a:cubicBezTo>
                        <a:pt x="21509" y="11722"/>
                        <a:pt x="21567" y="11805"/>
                        <a:pt x="21563" y="12059"/>
                      </a:cubicBezTo>
                      <a:cubicBezTo>
                        <a:pt x="21563" y="12083"/>
                        <a:pt x="21563" y="12108"/>
                        <a:pt x="21563" y="12133"/>
                      </a:cubicBezTo>
                      <a:cubicBezTo>
                        <a:pt x="21546" y="12524"/>
                        <a:pt x="21422" y="12648"/>
                        <a:pt x="21031" y="12661"/>
                      </a:cubicBezTo>
                      <a:cubicBezTo>
                        <a:pt x="20703" y="12669"/>
                        <a:pt x="20379" y="12686"/>
                        <a:pt x="20051" y="12690"/>
                      </a:cubicBezTo>
                      <a:cubicBezTo>
                        <a:pt x="19926" y="12694"/>
                        <a:pt x="19839" y="12748"/>
                        <a:pt x="19789" y="12852"/>
                      </a:cubicBezTo>
                      <a:cubicBezTo>
                        <a:pt x="19697" y="13047"/>
                        <a:pt x="19639" y="13250"/>
                        <a:pt x="19623" y="13466"/>
                      </a:cubicBezTo>
                      <a:cubicBezTo>
                        <a:pt x="19610" y="13603"/>
                        <a:pt x="19668" y="13695"/>
                        <a:pt x="19785" y="13765"/>
                      </a:cubicBezTo>
                      <a:cubicBezTo>
                        <a:pt x="20075" y="13944"/>
                        <a:pt x="20362" y="14123"/>
                        <a:pt x="20649" y="14305"/>
                      </a:cubicBezTo>
                      <a:cubicBezTo>
                        <a:pt x="20911" y="14467"/>
                        <a:pt x="20944" y="14567"/>
                        <a:pt x="20844" y="14858"/>
                      </a:cubicBezTo>
                      <a:cubicBezTo>
                        <a:pt x="20811" y="14957"/>
                        <a:pt x="20765" y="15053"/>
                        <a:pt x="20707" y="15140"/>
                      </a:cubicBezTo>
                      <a:cubicBezTo>
                        <a:pt x="20653" y="15219"/>
                        <a:pt x="20566" y="15273"/>
                        <a:pt x="20441" y="15273"/>
                      </a:cubicBezTo>
                      <a:close/>
                      <a:moveTo>
                        <a:pt x="10777" y="18616"/>
                      </a:moveTo>
                      <a:cubicBezTo>
                        <a:pt x="15053" y="18633"/>
                        <a:pt x="18659" y="15194"/>
                        <a:pt x="18655" y="10750"/>
                      </a:cubicBezTo>
                      <a:cubicBezTo>
                        <a:pt x="18650" y="6381"/>
                        <a:pt x="15144" y="2897"/>
                        <a:pt x="10790" y="2893"/>
                      </a:cubicBezTo>
                      <a:cubicBezTo>
                        <a:pt x="6411" y="2889"/>
                        <a:pt x="2929" y="6398"/>
                        <a:pt x="2913" y="10721"/>
                      </a:cubicBezTo>
                      <a:cubicBezTo>
                        <a:pt x="2896" y="15148"/>
                        <a:pt x="6490" y="18629"/>
                        <a:pt x="10777" y="18616"/>
                      </a:cubicBezTo>
                      <a:close/>
                    </a:path>
                  </a:pathLst>
                </a:custGeom>
                <a:solidFill>
                  <a:srgbClr val="FFFFFF">
                    <a:alpha val="10000"/>
                  </a:srgbClr>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latin typeface="Verdana"/>
                      <a:ea typeface="Verdana"/>
                      <a:cs typeface="Verdana"/>
                      <a:sym typeface="Verdana"/>
                    </a:defRPr>
                  </a:pPr>
                  <a:endParaRPr kumimoji="0" sz="1300" b="0" i="0" u="none" strike="noStrike" kern="1200" cap="none" spc="0" normalizeH="0" baseline="0" noProof="0">
                    <a:ln>
                      <a:noFill/>
                    </a:ln>
                    <a:solidFill>
                      <a:srgbClr val="000000"/>
                    </a:solidFill>
                    <a:effectLst/>
                    <a:uLnTx/>
                    <a:uFillTx/>
                    <a:latin typeface="Verdana"/>
                    <a:ea typeface="Verdana"/>
                    <a:cs typeface="Verdana"/>
                    <a:sym typeface="Verdana"/>
                  </a:endParaRPr>
                </a:p>
              </p:txBody>
            </p:sp>
            <p:sp>
              <p:nvSpPr>
                <p:cNvPr id="54" name="Freeform: Shape 67">
                  <a:extLst>
                    <a:ext uri="{FF2B5EF4-FFF2-40B4-BE49-F238E27FC236}">
                      <a16:creationId xmlns:a16="http://schemas.microsoft.com/office/drawing/2014/main" id="{84DCCFF9-031A-4973-ADD5-8A9BFEC4F625}"/>
                    </a:ext>
                  </a:extLst>
                </p:cNvPr>
                <p:cNvSpPr/>
                <p:nvPr/>
              </p:nvSpPr>
              <p:spPr>
                <a:xfrm rot="15300000">
                  <a:off x="273916" y="274836"/>
                  <a:ext cx="756299" cy="756081"/>
                </a:xfrm>
                <a:custGeom>
                  <a:avLst/>
                  <a:gdLst/>
                  <a:ahLst/>
                  <a:cxnLst>
                    <a:cxn ang="0">
                      <a:pos x="wd2" y="hd2"/>
                    </a:cxn>
                    <a:cxn ang="5400000">
                      <a:pos x="wd2" y="hd2"/>
                    </a:cxn>
                    <a:cxn ang="10800000">
                      <a:pos x="wd2" y="hd2"/>
                    </a:cxn>
                    <a:cxn ang="16200000">
                      <a:pos x="wd2" y="hd2"/>
                    </a:cxn>
                  </a:cxnLst>
                  <a:rect l="0" t="0" r="r" b="b"/>
                  <a:pathLst>
                    <a:path w="21542" h="21577" extrusionOk="0">
                      <a:moveTo>
                        <a:pt x="1" y="10773"/>
                      </a:moveTo>
                      <a:cubicBezTo>
                        <a:pt x="-34" y="4867"/>
                        <a:pt x="4836" y="-12"/>
                        <a:pt x="10783" y="0"/>
                      </a:cubicBezTo>
                      <a:cubicBezTo>
                        <a:pt x="16701" y="11"/>
                        <a:pt x="21554" y="4862"/>
                        <a:pt x="21542" y="10809"/>
                      </a:cubicBezTo>
                      <a:cubicBezTo>
                        <a:pt x="21531" y="16691"/>
                        <a:pt x="16766" y="21588"/>
                        <a:pt x="10742" y="21576"/>
                      </a:cubicBezTo>
                      <a:cubicBezTo>
                        <a:pt x="4672" y="21559"/>
                        <a:pt x="-46" y="16597"/>
                        <a:pt x="1" y="10773"/>
                      </a:cubicBezTo>
                      <a:close/>
                      <a:moveTo>
                        <a:pt x="13476" y="10797"/>
                      </a:moveTo>
                      <a:cubicBezTo>
                        <a:pt x="13482" y="9290"/>
                        <a:pt x="12299" y="8076"/>
                        <a:pt x="10772" y="8076"/>
                      </a:cubicBezTo>
                      <a:cubicBezTo>
                        <a:pt x="9144" y="8076"/>
                        <a:pt x="8055" y="9413"/>
                        <a:pt x="8061" y="10779"/>
                      </a:cubicBezTo>
                      <a:cubicBezTo>
                        <a:pt x="8067" y="12292"/>
                        <a:pt x="9255" y="13506"/>
                        <a:pt x="10760" y="13506"/>
                      </a:cubicBezTo>
                      <a:cubicBezTo>
                        <a:pt x="12264" y="13506"/>
                        <a:pt x="13470" y="12310"/>
                        <a:pt x="13476" y="10797"/>
                      </a:cubicBezTo>
                      <a:close/>
                    </a:path>
                  </a:pathLst>
                </a:custGeom>
                <a:solidFill>
                  <a:srgbClr val="FFFFFF">
                    <a:alpha val="10000"/>
                  </a:srgbClr>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latin typeface="Verdana"/>
                      <a:ea typeface="Verdana"/>
                      <a:cs typeface="Verdana"/>
                      <a:sym typeface="Verdana"/>
                    </a:defRPr>
                  </a:pPr>
                  <a:endParaRPr kumimoji="0" sz="1300" b="0" i="0" u="none" strike="noStrike" kern="1200" cap="none" spc="0" normalizeH="0" baseline="0" noProof="0">
                    <a:ln>
                      <a:noFill/>
                    </a:ln>
                    <a:solidFill>
                      <a:srgbClr val="000000"/>
                    </a:solidFill>
                    <a:effectLst/>
                    <a:uLnTx/>
                    <a:uFillTx/>
                    <a:latin typeface="Verdana"/>
                    <a:ea typeface="Verdana"/>
                    <a:cs typeface="Verdana"/>
                    <a:sym typeface="Verdana"/>
                  </a:endParaRPr>
                </a:p>
              </p:txBody>
            </p:sp>
          </p:grpSp>
        </p:grpSp>
        <p:sp>
          <p:nvSpPr>
            <p:cNvPr id="50" name="Freeform: Shape 68">
              <a:extLst>
                <a:ext uri="{FF2B5EF4-FFF2-40B4-BE49-F238E27FC236}">
                  <a16:creationId xmlns:a16="http://schemas.microsoft.com/office/drawing/2014/main" id="{44CFD912-16FB-4FD8-BBD3-6E9011B5A636}"/>
                </a:ext>
              </a:extLst>
            </p:cNvPr>
            <p:cNvSpPr/>
            <p:nvPr/>
          </p:nvSpPr>
          <p:spPr>
            <a:xfrm>
              <a:off x="5448717" y="644951"/>
              <a:ext cx="1090268" cy="1109162"/>
            </a:xfrm>
            <a:custGeom>
              <a:avLst/>
              <a:gdLst/>
              <a:ahLst/>
              <a:cxnLst>
                <a:cxn ang="0">
                  <a:pos x="wd2" y="hd2"/>
                </a:cxn>
                <a:cxn ang="5400000">
                  <a:pos x="wd2" y="hd2"/>
                </a:cxn>
                <a:cxn ang="10800000">
                  <a:pos x="wd2" y="hd2"/>
                </a:cxn>
                <a:cxn ang="16200000">
                  <a:pos x="wd2" y="hd2"/>
                </a:cxn>
              </a:cxnLst>
              <a:rect l="0" t="0" r="r" b="b"/>
              <a:pathLst>
                <a:path w="21559" h="21560" extrusionOk="0">
                  <a:moveTo>
                    <a:pt x="10993" y="3"/>
                  </a:moveTo>
                  <a:cubicBezTo>
                    <a:pt x="11341" y="28"/>
                    <a:pt x="11696" y="54"/>
                    <a:pt x="12057" y="73"/>
                  </a:cubicBezTo>
                  <a:cubicBezTo>
                    <a:pt x="12173" y="79"/>
                    <a:pt x="12205" y="136"/>
                    <a:pt x="12237" y="231"/>
                  </a:cubicBezTo>
                  <a:cubicBezTo>
                    <a:pt x="12431" y="808"/>
                    <a:pt x="12321" y="1378"/>
                    <a:pt x="12218" y="1949"/>
                  </a:cubicBezTo>
                  <a:cubicBezTo>
                    <a:pt x="12179" y="2171"/>
                    <a:pt x="12147" y="2399"/>
                    <a:pt x="12108" y="2621"/>
                  </a:cubicBezTo>
                  <a:cubicBezTo>
                    <a:pt x="12089" y="2735"/>
                    <a:pt x="12121" y="2798"/>
                    <a:pt x="12244" y="2823"/>
                  </a:cubicBezTo>
                  <a:cubicBezTo>
                    <a:pt x="12979" y="2957"/>
                    <a:pt x="13688" y="3191"/>
                    <a:pt x="14365" y="3502"/>
                  </a:cubicBezTo>
                  <a:cubicBezTo>
                    <a:pt x="14481" y="3552"/>
                    <a:pt x="14526" y="3514"/>
                    <a:pt x="14578" y="3419"/>
                  </a:cubicBezTo>
                  <a:cubicBezTo>
                    <a:pt x="14758" y="3058"/>
                    <a:pt x="14965" y="2709"/>
                    <a:pt x="15126" y="2342"/>
                  </a:cubicBezTo>
                  <a:cubicBezTo>
                    <a:pt x="15274" y="2006"/>
                    <a:pt x="15506" y="1746"/>
                    <a:pt x="15783" y="1511"/>
                  </a:cubicBezTo>
                  <a:cubicBezTo>
                    <a:pt x="16028" y="1302"/>
                    <a:pt x="16022" y="1309"/>
                    <a:pt x="16299" y="1467"/>
                  </a:cubicBezTo>
                  <a:cubicBezTo>
                    <a:pt x="16989" y="1860"/>
                    <a:pt x="17615" y="2342"/>
                    <a:pt x="18221" y="2849"/>
                  </a:cubicBezTo>
                  <a:cubicBezTo>
                    <a:pt x="18311" y="2925"/>
                    <a:pt x="18337" y="2995"/>
                    <a:pt x="18272" y="3090"/>
                  </a:cubicBezTo>
                  <a:cubicBezTo>
                    <a:pt x="18266" y="3096"/>
                    <a:pt x="18259" y="3109"/>
                    <a:pt x="18259" y="3121"/>
                  </a:cubicBezTo>
                  <a:cubicBezTo>
                    <a:pt x="18098" y="3578"/>
                    <a:pt x="17808" y="3939"/>
                    <a:pt x="17447" y="4262"/>
                  </a:cubicBezTo>
                  <a:cubicBezTo>
                    <a:pt x="17189" y="4484"/>
                    <a:pt x="16957" y="4738"/>
                    <a:pt x="16712" y="4972"/>
                  </a:cubicBezTo>
                  <a:cubicBezTo>
                    <a:pt x="16647" y="5035"/>
                    <a:pt x="16628" y="5080"/>
                    <a:pt x="16699" y="5156"/>
                  </a:cubicBezTo>
                  <a:cubicBezTo>
                    <a:pt x="16841" y="5308"/>
                    <a:pt x="16963" y="5473"/>
                    <a:pt x="17112" y="5625"/>
                  </a:cubicBezTo>
                  <a:cubicBezTo>
                    <a:pt x="17492" y="6018"/>
                    <a:pt x="17744" y="6493"/>
                    <a:pt x="18027" y="6943"/>
                  </a:cubicBezTo>
                  <a:cubicBezTo>
                    <a:pt x="18098" y="7057"/>
                    <a:pt x="18156" y="7076"/>
                    <a:pt x="18279" y="7013"/>
                  </a:cubicBezTo>
                  <a:cubicBezTo>
                    <a:pt x="18737" y="6778"/>
                    <a:pt x="19194" y="6550"/>
                    <a:pt x="19659" y="6322"/>
                  </a:cubicBezTo>
                  <a:cubicBezTo>
                    <a:pt x="19962" y="6176"/>
                    <a:pt x="20297" y="6202"/>
                    <a:pt x="20619" y="6157"/>
                  </a:cubicBezTo>
                  <a:cubicBezTo>
                    <a:pt x="20690" y="6145"/>
                    <a:pt x="20722" y="6208"/>
                    <a:pt x="20742" y="6259"/>
                  </a:cubicBezTo>
                  <a:cubicBezTo>
                    <a:pt x="21090" y="7051"/>
                    <a:pt x="21367" y="7869"/>
                    <a:pt x="21554" y="8711"/>
                  </a:cubicBezTo>
                  <a:cubicBezTo>
                    <a:pt x="21574" y="8800"/>
                    <a:pt x="21541" y="8851"/>
                    <a:pt x="21464" y="8889"/>
                  </a:cubicBezTo>
                  <a:cubicBezTo>
                    <a:pt x="21271" y="8990"/>
                    <a:pt x="21077" y="9098"/>
                    <a:pt x="20884" y="9199"/>
                  </a:cubicBezTo>
                  <a:cubicBezTo>
                    <a:pt x="20677" y="9307"/>
                    <a:pt x="20445" y="9301"/>
                    <a:pt x="20226" y="9339"/>
                  </a:cubicBezTo>
                  <a:cubicBezTo>
                    <a:pt x="19858" y="9402"/>
                    <a:pt x="19484" y="9459"/>
                    <a:pt x="19111" y="9510"/>
                  </a:cubicBezTo>
                  <a:cubicBezTo>
                    <a:pt x="18962" y="9529"/>
                    <a:pt x="18924" y="9592"/>
                    <a:pt x="18936" y="9726"/>
                  </a:cubicBezTo>
                  <a:cubicBezTo>
                    <a:pt x="18962" y="9992"/>
                    <a:pt x="18975" y="10264"/>
                    <a:pt x="19007" y="10530"/>
                  </a:cubicBezTo>
                  <a:cubicBezTo>
                    <a:pt x="19052" y="10930"/>
                    <a:pt x="18982" y="11323"/>
                    <a:pt x="18949" y="11716"/>
                  </a:cubicBezTo>
                  <a:cubicBezTo>
                    <a:pt x="18924" y="12039"/>
                    <a:pt x="18911" y="12039"/>
                    <a:pt x="19227" y="12083"/>
                  </a:cubicBezTo>
                  <a:cubicBezTo>
                    <a:pt x="19704" y="12159"/>
                    <a:pt x="20181" y="12229"/>
                    <a:pt x="20658" y="12305"/>
                  </a:cubicBezTo>
                  <a:cubicBezTo>
                    <a:pt x="20884" y="12343"/>
                    <a:pt x="21058" y="12483"/>
                    <a:pt x="21251" y="12584"/>
                  </a:cubicBezTo>
                  <a:cubicBezTo>
                    <a:pt x="21580" y="12755"/>
                    <a:pt x="21567" y="12761"/>
                    <a:pt x="21490" y="13116"/>
                  </a:cubicBezTo>
                  <a:cubicBezTo>
                    <a:pt x="21322" y="13864"/>
                    <a:pt x="21058" y="14574"/>
                    <a:pt x="20761" y="15278"/>
                  </a:cubicBezTo>
                  <a:cubicBezTo>
                    <a:pt x="20710" y="15398"/>
                    <a:pt x="20639" y="15430"/>
                    <a:pt x="20516" y="15417"/>
                  </a:cubicBezTo>
                  <a:cubicBezTo>
                    <a:pt x="20071" y="15379"/>
                    <a:pt x="19652" y="15290"/>
                    <a:pt x="19265" y="15062"/>
                  </a:cubicBezTo>
                  <a:cubicBezTo>
                    <a:pt x="18943" y="14872"/>
                    <a:pt x="18595" y="14726"/>
                    <a:pt x="18266" y="14549"/>
                  </a:cubicBezTo>
                  <a:cubicBezTo>
                    <a:pt x="18169" y="14498"/>
                    <a:pt x="18105" y="14498"/>
                    <a:pt x="18047" y="14606"/>
                  </a:cubicBezTo>
                  <a:cubicBezTo>
                    <a:pt x="17686" y="15252"/>
                    <a:pt x="17247" y="15848"/>
                    <a:pt x="16738" y="16380"/>
                  </a:cubicBezTo>
                  <a:cubicBezTo>
                    <a:pt x="16647" y="16476"/>
                    <a:pt x="16647" y="16533"/>
                    <a:pt x="16744" y="16621"/>
                  </a:cubicBezTo>
                  <a:cubicBezTo>
                    <a:pt x="17125" y="16983"/>
                    <a:pt x="17505" y="17350"/>
                    <a:pt x="17873" y="17730"/>
                  </a:cubicBezTo>
                  <a:cubicBezTo>
                    <a:pt x="18098" y="17965"/>
                    <a:pt x="18169" y="18288"/>
                    <a:pt x="18317" y="18567"/>
                  </a:cubicBezTo>
                  <a:cubicBezTo>
                    <a:pt x="18343" y="18618"/>
                    <a:pt x="18298" y="18656"/>
                    <a:pt x="18259" y="18688"/>
                  </a:cubicBezTo>
                  <a:cubicBezTo>
                    <a:pt x="17595" y="19264"/>
                    <a:pt x="16892" y="19778"/>
                    <a:pt x="16125" y="20209"/>
                  </a:cubicBezTo>
                  <a:cubicBezTo>
                    <a:pt x="16054" y="20253"/>
                    <a:pt x="16003" y="20247"/>
                    <a:pt x="15938" y="20190"/>
                  </a:cubicBezTo>
                  <a:cubicBezTo>
                    <a:pt x="15584" y="19892"/>
                    <a:pt x="15268" y="19575"/>
                    <a:pt x="15087" y="19138"/>
                  </a:cubicBezTo>
                  <a:cubicBezTo>
                    <a:pt x="14945" y="18795"/>
                    <a:pt x="14745" y="18478"/>
                    <a:pt x="14584" y="18149"/>
                  </a:cubicBezTo>
                  <a:cubicBezTo>
                    <a:pt x="14533" y="18047"/>
                    <a:pt x="14481" y="18022"/>
                    <a:pt x="14371" y="18066"/>
                  </a:cubicBezTo>
                  <a:cubicBezTo>
                    <a:pt x="13701" y="18377"/>
                    <a:pt x="12998" y="18605"/>
                    <a:pt x="12263" y="18745"/>
                  </a:cubicBezTo>
                  <a:cubicBezTo>
                    <a:pt x="12121" y="18770"/>
                    <a:pt x="12095" y="18846"/>
                    <a:pt x="12121" y="18966"/>
                  </a:cubicBezTo>
                  <a:cubicBezTo>
                    <a:pt x="12205" y="19454"/>
                    <a:pt x="12282" y="19942"/>
                    <a:pt x="12360" y="20437"/>
                  </a:cubicBezTo>
                  <a:cubicBezTo>
                    <a:pt x="12411" y="20779"/>
                    <a:pt x="12276" y="21090"/>
                    <a:pt x="12224" y="21419"/>
                  </a:cubicBezTo>
                  <a:cubicBezTo>
                    <a:pt x="12211" y="21489"/>
                    <a:pt x="12140" y="21489"/>
                    <a:pt x="12082" y="21495"/>
                  </a:cubicBezTo>
                  <a:cubicBezTo>
                    <a:pt x="11212" y="21584"/>
                    <a:pt x="10348" y="21578"/>
                    <a:pt x="9478" y="21495"/>
                  </a:cubicBezTo>
                  <a:cubicBezTo>
                    <a:pt x="9368" y="21483"/>
                    <a:pt x="9349" y="21426"/>
                    <a:pt x="9316" y="21337"/>
                  </a:cubicBezTo>
                  <a:cubicBezTo>
                    <a:pt x="9123" y="20766"/>
                    <a:pt x="9226" y="20202"/>
                    <a:pt x="9336" y="19632"/>
                  </a:cubicBezTo>
                  <a:cubicBezTo>
                    <a:pt x="9374" y="19410"/>
                    <a:pt x="9407" y="19182"/>
                    <a:pt x="9452" y="18960"/>
                  </a:cubicBezTo>
                  <a:cubicBezTo>
                    <a:pt x="9478" y="18833"/>
                    <a:pt x="9439" y="18764"/>
                    <a:pt x="9303" y="18738"/>
                  </a:cubicBezTo>
                  <a:cubicBezTo>
                    <a:pt x="8568" y="18605"/>
                    <a:pt x="7872" y="18377"/>
                    <a:pt x="7195" y="18060"/>
                  </a:cubicBezTo>
                  <a:cubicBezTo>
                    <a:pt x="7098" y="18016"/>
                    <a:pt x="7047" y="18028"/>
                    <a:pt x="6995" y="18130"/>
                  </a:cubicBezTo>
                  <a:cubicBezTo>
                    <a:pt x="6769" y="18580"/>
                    <a:pt x="6531" y="19023"/>
                    <a:pt x="6305" y="19473"/>
                  </a:cubicBezTo>
                  <a:cubicBezTo>
                    <a:pt x="6144" y="19790"/>
                    <a:pt x="5835" y="19974"/>
                    <a:pt x="5590" y="20215"/>
                  </a:cubicBezTo>
                  <a:cubicBezTo>
                    <a:pt x="5532" y="20272"/>
                    <a:pt x="5480" y="20221"/>
                    <a:pt x="5428" y="20190"/>
                  </a:cubicBezTo>
                  <a:cubicBezTo>
                    <a:pt x="4803" y="19809"/>
                    <a:pt x="4177" y="19429"/>
                    <a:pt x="3629" y="18941"/>
                  </a:cubicBezTo>
                  <a:cubicBezTo>
                    <a:pt x="3533" y="18852"/>
                    <a:pt x="3423" y="18770"/>
                    <a:pt x="3320" y="18688"/>
                  </a:cubicBezTo>
                  <a:cubicBezTo>
                    <a:pt x="3249" y="18630"/>
                    <a:pt x="3243" y="18580"/>
                    <a:pt x="3275" y="18497"/>
                  </a:cubicBezTo>
                  <a:cubicBezTo>
                    <a:pt x="3455" y="18085"/>
                    <a:pt x="3662" y="17692"/>
                    <a:pt x="4023" y="17388"/>
                  </a:cubicBezTo>
                  <a:cubicBezTo>
                    <a:pt x="4313" y="17147"/>
                    <a:pt x="4564" y="16862"/>
                    <a:pt x="4835" y="16596"/>
                  </a:cubicBezTo>
                  <a:cubicBezTo>
                    <a:pt x="4913" y="16526"/>
                    <a:pt x="4925" y="16476"/>
                    <a:pt x="4848" y="16387"/>
                  </a:cubicBezTo>
                  <a:cubicBezTo>
                    <a:pt x="4706" y="16235"/>
                    <a:pt x="4584" y="16070"/>
                    <a:pt x="4435" y="15918"/>
                  </a:cubicBezTo>
                  <a:cubicBezTo>
                    <a:pt x="4061" y="15531"/>
                    <a:pt x="3816" y="15056"/>
                    <a:pt x="3533" y="14612"/>
                  </a:cubicBezTo>
                  <a:cubicBezTo>
                    <a:pt x="3462" y="14498"/>
                    <a:pt x="3404" y="14479"/>
                    <a:pt x="3281" y="14542"/>
                  </a:cubicBezTo>
                  <a:cubicBezTo>
                    <a:pt x="2823" y="14777"/>
                    <a:pt x="2366" y="15005"/>
                    <a:pt x="1901" y="15233"/>
                  </a:cubicBezTo>
                  <a:cubicBezTo>
                    <a:pt x="1598" y="15385"/>
                    <a:pt x="1263" y="15354"/>
                    <a:pt x="941" y="15398"/>
                  </a:cubicBezTo>
                  <a:cubicBezTo>
                    <a:pt x="870" y="15411"/>
                    <a:pt x="838" y="15354"/>
                    <a:pt x="818" y="15297"/>
                  </a:cubicBezTo>
                  <a:cubicBezTo>
                    <a:pt x="470" y="14504"/>
                    <a:pt x="193" y="13687"/>
                    <a:pt x="6" y="12844"/>
                  </a:cubicBezTo>
                  <a:cubicBezTo>
                    <a:pt x="-14" y="12755"/>
                    <a:pt x="19" y="12704"/>
                    <a:pt x="96" y="12666"/>
                  </a:cubicBezTo>
                  <a:cubicBezTo>
                    <a:pt x="289" y="12565"/>
                    <a:pt x="483" y="12457"/>
                    <a:pt x="676" y="12356"/>
                  </a:cubicBezTo>
                  <a:cubicBezTo>
                    <a:pt x="883" y="12248"/>
                    <a:pt x="1115" y="12254"/>
                    <a:pt x="1334" y="12216"/>
                  </a:cubicBezTo>
                  <a:cubicBezTo>
                    <a:pt x="1708" y="12153"/>
                    <a:pt x="2088" y="12090"/>
                    <a:pt x="2462" y="12039"/>
                  </a:cubicBezTo>
                  <a:cubicBezTo>
                    <a:pt x="2591" y="12020"/>
                    <a:pt x="2630" y="11963"/>
                    <a:pt x="2617" y="11842"/>
                  </a:cubicBezTo>
                  <a:cubicBezTo>
                    <a:pt x="2591" y="11570"/>
                    <a:pt x="2578" y="11297"/>
                    <a:pt x="2546" y="11025"/>
                  </a:cubicBezTo>
                  <a:cubicBezTo>
                    <a:pt x="2501" y="10626"/>
                    <a:pt x="2572" y="10233"/>
                    <a:pt x="2604" y="9840"/>
                  </a:cubicBezTo>
                  <a:cubicBezTo>
                    <a:pt x="2630" y="9516"/>
                    <a:pt x="2643" y="9516"/>
                    <a:pt x="2314" y="9466"/>
                  </a:cubicBezTo>
                  <a:cubicBezTo>
                    <a:pt x="1850" y="9390"/>
                    <a:pt x="1379" y="9320"/>
                    <a:pt x="915" y="9250"/>
                  </a:cubicBezTo>
                  <a:cubicBezTo>
                    <a:pt x="683" y="9219"/>
                    <a:pt x="502" y="9073"/>
                    <a:pt x="309" y="8971"/>
                  </a:cubicBezTo>
                  <a:cubicBezTo>
                    <a:pt x="-20" y="8794"/>
                    <a:pt x="-7" y="8794"/>
                    <a:pt x="70" y="8439"/>
                  </a:cubicBezTo>
                  <a:cubicBezTo>
                    <a:pt x="238" y="7691"/>
                    <a:pt x="502" y="6981"/>
                    <a:pt x="799" y="6278"/>
                  </a:cubicBezTo>
                  <a:cubicBezTo>
                    <a:pt x="850" y="6157"/>
                    <a:pt x="915" y="6126"/>
                    <a:pt x="1044" y="6138"/>
                  </a:cubicBezTo>
                  <a:cubicBezTo>
                    <a:pt x="1489" y="6176"/>
                    <a:pt x="1908" y="6265"/>
                    <a:pt x="2295" y="6493"/>
                  </a:cubicBezTo>
                  <a:cubicBezTo>
                    <a:pt x="2611" y="6677"/>
                    <a:pt x="2952" y="6823"/>
                    <a:pt x="3281" y="6994"/>
                  </a:cubicBezTo>
                  <a:cubicBezTo>
                    <a:pt x="3391" y="7051"/>
                    <a:pt x="3462" y="7051"/>
                    <a:pt x="3526" y="6930"/>
                  </a:cubicBezTo>
                  <a:cubicBezTo>
                    <a:pt x="3887" y="6284"/>
                    <a:pt x="4326" y="5695"/>
                    <a:pt x="4835" y="5156"/>
                  </a:cubicBezTo>
                  <a:cubicBezTo>
                    <a:pt x="4919" y="5067"/>
                    <a:pt x="4913" y="5023"/>
                    <a:pt x="4829" y="4940"/>
                  </a:cubicBezTo>
                  <a:cubicBezTo>
                    <a:pt x="4448" y="4573"/>
                    <a:pt x="4068" y="4205"/>
                    <a:pt x="3700" y="3831"/>
                  </a:cubicBezTo>
                  <a:cubicBezTo>
                    <a:pt x="3468" y="3597"/>
                    <a:pt x="3397" y="3267"/>
                    <a:pt x="3249" y="2982"/>
                  </a:cubicBezTo>
                  <a:cubicBezTo>
                    <a:pt x="3223" y="2931"/>
                    <a:pt x="3268" y="2893"/>
                    <a:pt x="3307" y="2861"/>
                  </a:cubicBezTo>
                  <a:cubicBezTo>
                    <a:pt x="3971" y="2285"/>
                    <a:pt x="4674" y="1771"/>
                    <a:pt x="5441" y="1340"/>
                  </a:cubicBezTo>
                  <a:cubicBezTo>
                    <a:pt x="5512" y="1296"/>
                    <a:pt x="5564" y="1302"/>
                    <a:pt x="5628" y="1359"/>
                  </a:cubicBezTo>
                  <a:cubicBezTo>
                    <a:pt x="5983" y="1657"/>
                    <a:pt x="6299" y="1974"/>
                    <a:pt x="6479" y="2411"/>
                  </a:cubicBezTo>
                  <a:cubicBezTo>
                    <a:pt x="6628" y="2754"/>
                    <a:pt x="6821" y="3077"/>
                    <a:pt x="6995" y="3413"/>
                  </a:cubicBezTo>
                  <a:cubicBezTo>
                    <a:pt x="7040" y="3502"/>
                    <a:pt x="7085" y="3527"/>
                    <a:pt x="7182" y="3483"/>
                  </a:cubicBezTo>
                  <a:cubicBezTo>
                    <a:pt x="7866" y="3166"/>
                    <a:pt x="8575" y="2931"/>
                    <a:pt x="9323" y="2798"/>
                  </a:cubicBezTo>
                  <a:cubicBezTo>
                    <a:pt x="9452" y="2773"/>
                    <a:pt x="9471" y="2703"/>
                    <a:pt x="9452" y="2595"/>
                  </a:cubicBezTo>
                  <a:cubicBezTo>
                    <a:pt x="9368" y="2107"/>
                    <a:pt x="9291" y="1613"/>
                    <a:pt x="9213" y="1125"/>
                  </a:cubicBezTo>
                  <a:cubicBezTo>
                    <a:pt x="9155" y="776"/>
                    <a:pt x="9291" y="459"/>
                    <a:pt x="9349" y="130"/>
                  </a:cubicBezTo>
                  <a:cubicBezTo>
                    <a:pt x="9361" y="66"/>
                    <a:pt x="9420" y="54"/>
                    <a:pt x="9478" y="54"/>
                  </a:cubicBezTo>
                  <a:cubicBezTo>
                    <a:pt x="9968" y="54"/>
                    <a:pt x="10471" y="-16"/>
                    <a:pt x="10993" y="3"/>
                  </a:cubicBezTo>
                  <a:close/>
                  <a:moveTo>
                    <a:pt x="10767" y="17319"/>
                  </a:moveTo>
                  <a:cubicBezTo>
                    <a:pt x="14442" y="17287"/>
                    <a:pt x="17395" y="14447"/>
                    <a:pt x="17402" y="10803"/>
                  </a:cubicBezTo>
                  <a:cubicBezTo>
                    <a:pt x="17408" y="7197"/>
                    <a:pt x="14500" y="4288"/>
                    <a:pt x="10780" y="4281"/>
                  </a:cubicBezTo>
                  <a:cubicBezTo>
                    <a:pt x="7098" y="4275"/>
                    <a:pt x="4139" y="7146"/>
                    <a:pt x="4139" y="10803"/>
                  </a:cubicBezTo>
                  <a:cubicBezTo>
                    <a:pt x="4139" y="14416"/>
                    <a:pt x="7073" y="17280"/>
                    <a:pt x="10767" y="17319"/>
                  </a:cubicBezTo>
                  <a:close/>
                </a:path>
              </a:pathLst>
            </a:custGeom>
            <a:solidFill>
              <a:srgbClr val="FFFFFF">
                <a:alpha val="10000"/>
              </a:srgbClr>
            </a:solidFill>
            <a:ln w="12700" cap="flat">
              <a:noFill/>
              <a:miter lim="4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300">
                  <a:latin typeface="Verdana"/>
                  <a:ea typeface="Verdana"/>
                  <a:cs typeface="Verdana"/>
                  <a:sym typeface="Verdana"/>
                </a:defRPr>
              </a:pPr>
              <a:endParaRPr kumimoji="0" sz="1300" b="0" i="0" u="none" strike="noStrike" kern="1200" cap="none" spc="0" normalizeH="0" baseline="0" noProof="0">
                <a:ln>
                  <a:noFill/>
                </a:ln>
                <a:solidFill>
                  <a:srgbClr val="000000"/>
                </a:solidFill>
                <a:effectLst/>
                <a:uLnTx/>
                <a:uFillTx/>
                <a:latin typeface="Verdana"/>
                <a:ea typeface="Verdana"/>
                <a:cs typeface="Verdana"/>
                <a:sym typeface="Verdana"/>
              </a:endParaRPr>
            </a:p>
          </p:txBody>
        </p:sp>
      </p:grpSp>
      <p:sp>
        <p:nvSpPr>
          <p:cNvPr id="92" name="Rectángulo 13">
            <a:extLst>
              <a:ext uri="{FF2B5EF4-FFF2-40B4-BE49-F238E27FC236}">
                <a16:creationId xmlns:a16="http://schemas.microsoft.com/office/drawing/2014/main" id="{3F0928CC-A2EA-4931-A287-E07FBB130581}"/>
              </a:ext>
            </a:extLst>
          </p:cNvPr>
          <p:cNvSpPr/>
          <p:nvPr/>
        </p:nvSpPr>
        <p:spPr>
          <a:xfrm>
            <a:off x="8707628" y="1354453"/>
            <a:ext cx="2854767" cy="646329"/>
          </a:xfrm>
          <a:prstGeom prst="rect">
            <a:avLst/>
          </a:prstGeom>
          <a:ln w="12700">
            <a:miter lim="400000"/>
          </a:ln>
          <a:extLst>
            <a:ext uri="{C572A759-6A51-4108-AA02-DFA0A04FC94B}">
              <ma14:wrappingTextBoxFlag xmlns:ma14="http://schemas.microsoft.com/office/mac/drawingml/2011/main" xmlns="" val="1"/>
            </a:ext>
          </a:extLst>
        </p:spPr>
        <p:txBody>
          <a:bodyPr wrap="square" lIns="45719" tIns="45719" rIns="45719" bIns="45719">
            <a:spAutoFit/>
          </a:bodyPr>
          <a:lstStyle/>
          <a:p>
            <a:pPr marL="0" marR="0" lvl="0" indent="0" algn="r" defTabSz="914400" rtl="0" eaLnBrk="1" fontAlgn="auto" latinLnBrk="0" hangingPunct="0">
              <a:lnSpc>
                <a:spcPct val="100000"/>
              </a:lnSpc>
              <a:spcBef>
                <a:spcPts val="0"/>
              </a:spcBef>
              <a:spcAft>
                <a:spcPts val="0"/>
              </a:spcAft>
              <a:buClrTx/>
              <a:buSzTx/>
              <a:buFontTx/>
              <a:buNone/>
              <a:tabLst/>
              <a:defRPr sz="4000">
                <a:solidFill>
                  <a:srgbClr val="FFFFFF"/>
                </a:solidFill>
                <a:latin typeface="Ubuntu Light"/>
                <a:ea typeface="Ubuntu Light"/>
                <a:cs typeface="Ubuntu Light"/>
                <a:sym typeface="Ubuntu Light"/>
              </a:defRPr>
            </a:pPr>
            <a:r>
              <a:rPr kumimoji="0" sz="1200" b="0" i="0" u="none" strike="noStrike" kern="0" cap="none" spc="0" normalizeH="0" baseline="0" noProof="0" dirty="0">
                <a:ln>
                  <a:noFill/>
                </a:ln>
                <a:solidFill>
                  <a:srgbClr val="12ABDB"/>
                </a:solidFill>
                <a:effectLst/>
                <a:uLnTx/>
                <a:uFillTx/>
                <a:latin typeface="Ubuntu Light"/>
                <a:sym typeface="Ubuntu Light"/>
              </a:rPr>
              <a:t>We are an innovation driver aimed at creating </a:t>
            </a:r>
            <a:r>
              <a:rPr kumimoji="0" sz="1200" b="1" i="0" u="none" strike="noStrike" kern="0" cap="none" spc="0" normalizeH="0" baseline="0" noProof="0" dirty="0">
                <a:ln>
                  <a:noFill/>
                </a:ln>
                <a:solidFill>
                  <a:srgbClr val="12ABDB"/>
                </a:solidFill>
                <a:effectLst/>
                <a:uLnTx/>
                <a:uFillTx/>
                <a:latin typeface="Ubuntu" panose="020B0504030602030204" pitchFamily="34" charset="0"/>
                <a:sym typeface="Ubuntu Light"/>
              </a:rPr>
              <a:t>valuable solutions </a:t>
            </a:r>
            <a:r>
              <a:rPr kumimoji="0" sz="1200" b="0" i="0" u="none" strike="noStrike" kern="0" cap="none" spc="0" normalizeH="0" baseline="0" noProof="0" dirty="0">
                <a:ln>
                  <a:noFill/>
                </a:ln>
                <a:solidFill>
                  <a:srgbClr val="12ABDB"/>
                </a:solidFill>
                <a:effectLst/>
                <a:uLnTx/>
                <a:uFillTx/>
                <a:latin typeface="Ubuntu Light"/>
                <a:sym typeface="Ubuntu Light"/>
              </a:rPr>
              <a:t>to be transferred to our </a:t>
            </a:r>
            <a:r>
              <a:rPr kumimoji="0" sz="1200" b="1" i="0" u="none" strike="noStrike" kern="0" cap="none" spc="0" normalizeH="0" baseline="0" noProof="0" dirty="0">
                <a:ln>
                  <a:noFill/>
                </a:ln>
                <a:solidFill>
                  <a:srgbClr val="12ABDB"/>
                </a:solidFill>
                <a:effectLst/>
                <a:uLnTx/>
                <a:uFillTx/>
                <a:latin typeface="Ubuntu" panose="020B0504030602030204" pitchFamily="34" charset="0"/>
                <a:sym typeface="Ubuntu Light"/>
              </a:rPr>
              <a:t>customers</a:t>
            </a:r>
            <a:endParaRPr kumimoji="0" sz="1200" b="0" i="0" u="none" strike="noStrike" kern="0" cap="none" spc="0" normalizeH="0" baseline="0" noProof="0" dirty="0">
              <a:ln>
                <a:noFill/>
              </a:ln>
              <a:solidFill>
                <a:srgbClr val="12ABDB"/>
              </a:solidFill>
              <a:effectLst/>
              <a:uLnTx/>
              <a:uFillTx/>
              <a:latin typeface="Ubuntu Light"/>
              <a:sym typeface="Ubuntu Light"/>
            </a:endParaRPr>
          </a:p>
        </p:txBody>
      </p:sp>
      <p:sp>
        <p:nvSpPr>
          <p:cNvPr id="94" name="Freeform: Shape 12">
            <a:extLst>
              <a:ext uri="{FF2B5EF4-FFF2-40B4-BE49-F238E27FC236}">
                <a16:creationId xmlns:a16="http://schemas.microsoft.com/office/drawing/2014/main" id="{B8F47EDD-ED25-48E0-8909-81EF4FB983CA}"/>
              </a:ext>
            </a:extLst>
          </p:cNvPr>
          <p:cNvSpPr/>
          <p:nvPr/>
        </p:nvSpPr>
        <p:spPr>
          <a:xfrm flipH="1">
            <a:off x="8277270" y="4194974"/>
            <a:ext cx="3525904" cy="2263908"/>
          </a:xfrm>
          <a:custGeom>
            <a:avLst/>
            <a:gdLst>
              <a:gd name="connsiteX0" fmla="*/ 0 w 5251805"/>
              <a:gd name="connsiteY0" fmla="*/ 0 h 2893381"/>
              <a:gd name="connsiteX1" fmla="*/ 2979654 w 5251805"/>
              <a:gd name="connsiteY1" fmla="*/ 406610 h 2893381"/>
              <a:gd name="connsiteX2" fmla="*/ 5251722 w 5251805"/>
              <a:gd name="connsiteY2" fmla="*/ 2619108 h 2893381"/>
              <a:gd name="connsiteX3" fmla="*/ 5251805 w 5251805"/>
              <a:gd name="connsiteY3" fmla="*/ 2893381 h 2893381"/>
              <a:gd name="connsiteX4" fmla="*/ 0 w 5251805"/>
              <a:gd name="connsiteY4" fmla="*/ 2893381 h 2893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51805" h="2893381">
                <a:moveTo>
                  <a:pt x="0" y="0"/>
                </a:moveTo>
                <a:lnTo>
                  <a:pt x="2979654" y="406610"/>
                </a:lnTo>
                <a:cubicBezTo>
                  <a:pt x="4289952" y="585424"/>
                  <a:pt x="5251334" y="1521720"/>
                  <a:pt x="5251722" y="2619108"/>
                </a:cubicBezTo>
                <a:lnTo>
                  <a:pt x="5251805" y="2893381"/>
                </a:lnTo>
                <a:lnTo>
                  <a:pt x="0" y="2893381"/>
                </a:lnTo>
                <a:close/>
              </a:path>
            </a:pathLst>
          </a:custGeom>
          <a:noFill/>
          <a:ln w="19050">
            <a:solidFill>
              <a:srgbClr val="FFFFFF">
                <a:alpha val="67059"/>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sp>
        <p:nvSpPr>
          <p:cNvPr id="95" name="TextBox 14">
            <a:extLst>
              <a:ext uri="{FF2B5EF4-FFF2-40B4-BE49-F238E27FC236}">
                <a16:creationId xmlns:a16="http://schemas.microsoft.com/office/drawing/2014/main" id="{BC109599-8E79-40ED-80D1-B6F9E6195F84}"/>
              </a:ext>
            </a:extLst>
          </p:cNvPr>
          <p:cNvSpPr txBox="1"/>
          <p:nvPr/>
        </p:nvSpPr>
        <p:spPr>
          <a:xfrm>
            <a:off x="10876176" y="4658347"/>
            <a:ext cx="1219200" cy="668581"/>
          </a:xfrm>
          <a:prstGeom prst="rect">
            <a:avLst/>
          </a:prstGeom>
          <a:noFill/>
        </p:spPr>
        <p:txBody>
          <a:bodyPr wrap="square" rtlCol="0">
            <a:spAutoFit/>
          </a:bodyPr>
          <a:lstStyle/>
          <a:p>
            <a:pPr marL="0" marR="0" lvl="0" indent="0" algn="l" defTabSz="914400" rtl="0" eaLnBrk="1" fontAlgn="auto" latinLnBrk="0" hangingPunct="1">
              <a:lnSpc>
                <a:spcPct val="25000"/>
              </a:lnSpc>
              <a:spcBef>
                <a:spcPts val="0"/>
              </a:spcBef>
              <a:spcAft>
                <a:spcPts val="0"/>
              </a:spcAft>
              <a:buClrTx/>
              <a:buSzTx/>
              <a:buFontTx/>
              <a:buNone/>
              <a:tabLst/>
              <a:defRPr/>
            </a:pPr>
            <a:r>
              <a:rPr kumimoji="0" lang="en-GB" sz="13800" b="0" i="0" u="none" strike="noStrike" kern="1200" cap="none" spc="0" normalizeH="0" baseline="-25000" noProof="0" dirty="0">
                <a:ln>
                  <a:noFill/>
                </a:ln>
                <a:solidFill>
                  <a:prstClr val="white"/>
                </a:solidFill>
                <a:effectLst/>
                <a:uLnTx/>
                <a:uFillTx/>
                <a:latin typeface="Arial Black" panose="020B0A04020102020204" pitchFamily="34" charset="0"/>
                <a:ea typeface="+mn-ea"/>
                <a:cs typeface="Arabic Typesetting" panose="020B0604020202020204" pitchFamily="66" charset="-78"/>
              </a:rPr>
              <a:t>“</a:t>
            </a:r>
          </a:p>
        </p:txBody>
      </p:sp>
      <p:sp>
        <p:nvSpPr>
          <p:cNvPr id="101" name="CuadroTexto 100">
            <a:extLst>
              <a:ext uri="{FF2B5EF4-FFF2-40B4-BE49-F238E27FC236}">
                <a16:creationId xmlns:a16="http://schemas.microsoft.com/office/drawing/2014/main" id="{F456390A-DA99-4717-AC83-0E43DA325038}"/>
              </a:ext>
            </a:extLst>
          </p:cNvPr>
          <p:cNvSpPr txBox="1"/>
          <p:nvPr/>
        </p:nvSpPr>
        <p:spPr>
          <a:xfrm>
            <a:off x="5769546" y="4825772"/>
            <a:ext cx="1850203" cy="55399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0"/>
              </a:spcAft>
              <a:buClrTx/>
              <a:buSzTx/>
              <a:buFontTx/>
              <a:buNone/>
              <a:tabLst/>
              <a:defRPr/>
            </a:pPr>
            <a:r>
              <a:rPr kumimoji="0" lang="es-ES" sz="2000" b="1" i="0" u="none" strike="noStrike" kern="1200" cap="none" spc="0" normalizeH="0" baseline="0" noProof="0" dirty="0">
                <a:ln>
                  <a:noFill/>
                </a:ln>
                <a:solidFill>
                  <a:srgbClr val="FF304C"/>
                </a:solidFill>
                <a:effectLst/>
                <a:uLnTx/>
                <a:uFillTx/>
                <a:latin typeface="Ubuntu Mono" panose="020B0509030602030204" pitchFamily="49" charset="0"/>
                <a:ea typeface="+mn-ea"/>
                <a:cs typeface="+mn-cs"/>
              </a:rPr>
              <a:t>Thinkubator</a:t>
            </a:r>
          </a:p>
          <a:p>
            <a:pPr marL="0" marR="0" lvl="0" indent="0" algn="l" defTabSz="914400" rtl="0" eaLnBrk="1" fontAlgn="auto" latinLnBrk="0" hangingPunct="1">
              <a:lnSpc>
                <a:spcPts val="1800"/>
              </a:lnSpc>
              <a:spcBef>
                <a:spcPts val="0"/>
              </a:spcBef>
              <a:spcAft>
                <a:spcPts val="0"/>
              </a:spcAft>
              <a:buClrTx/>
              <a:buSzTx/>
              <a:buFontTx/>
              <a:buNone/>
              <a:tabLst/>
              <a:defRPr/>
            </a:pPr>
            <a:r>
              <a:rPr kumimoji="0" lang="es-ES" sz="2000" b="0" i="0" u="none" strike="noStrike" kern="1200" cap="none" spc="0" normalizeH="0" baseline="0" noProof="0" dirty="0">
                <a:ln>
                  <a:noFill/>
                </a:ln>
                <a:solidFill>
                  <a:srgbClr val="FF304C"/>
                </a:solidFill>
                <a:effectLst/>
                <a:uLnTx/>
                <a:uFillTx/>
                <a:latin typeface="Ubuntu Mono" panose="020B0509030602030204" pitchFamily="49" charset="0"/>
                <a:ea typeface="+mn-ea"/>
                <a:cs typeface="+mn-cs"/>
              </a:rPr>
              <a:t>Approach</a:t>
            </a:r>
            <a:endParaRPr kumimoji="0" lang="en-GB" sz="2000" b="0" i="0" u="none" strike="noStrike" kern="1200" cap="none" spc="0" normalizeH="0" baseline="0" noProof="0" dirty="0">
              <a:ln>
                <a:noFill/>
              </a:ln>
              <a:solidFill>
                <a:srgbClr val="FF304C"/>
              </a:solidFill>
              <a:effectLst/>
              <a:uLnTx/>
              <a:uFillTx/>
              <a:latin typeface="Ubuntu Mono" panose="020B0509030602030204" pitchFamily="49" charset="0"/>
              <a:ea typeface="+mn-ea"/>
              <a:cs typeface="+mn-cs"/>
            </a:endParaRPr>
          </a:p>
        </p:txBody>
      </p:sp>
      <p:sp>
        <p:nvSpPr>
          <p:cNvPr id="102" name="CuadroTexto 101">
            <a:extLst>
              <a:ext uri="{FF2B5EF4-FFF2-40B4-BE49-F238E27FC236}">
                <a16:creationId xmlns:a16="http://schemas.microsoft.com/office/drawing/2014/main" id="{9B89585B-17F5-43D4-AD64-CCA76D8BC16D}"/>
              </a:ext>
            </a:extLst>
          </p:cNvPr>
          <p:cNvSpPr txBox="1"/>
          <p:nvPr/>
        </p:nvSpPr>
        <p:spPr>
          <a:xfrm>
            <a:off x="369391" y="5010237"/>
            <a:ext cx="1850203" cy="784830"/>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0"/>
              </a:spcAft>
              <a:buClrTx/>
              <a:buSzTx/>
              <a:buFontTx/>
              <a:buNone/>
              <a:tabLst/>
              <a:defRPr/>
            </a:pPr>
            <a:r>
              <a:rPr kumimoji="0" lang="es-ES" sz="2000" b="1" i="0" u="none" strike="noStrike" kern="1200" cap="none" spc="0" normalizeH="0" baseline="0" noProof="0" dirty="0">
                <a:ln>
                  <a:noFill/>
                </a:ln>
                <a:solidFill>
                  <a:srgbClr val="00C37B"/>
                </a:solidFill>
                <a:effectLst/>
                <a:uLnTx/>
                <a:uFillTx/>
                <a:latin typeface="Ubuntu Mono" panose="020B0509030602030204" pitchFamily="49" charset="0"/>
                <a:ea typeface="+mn-ea"/>
                <a:cs typeface="+mn-cs"/>
              </a:rPr>
              <a:t>Innovation</a:t>
            </a:r>
          </a:p>
          <a:p>
            <a:pPr marL="0" marR="0" lvl="0" indent="0" algn="l" defTabSz="914400" rtl="0" eaLnBrk="1" fontAlgn="auto" latinLnBrk="0" hangingPunct="1">
              <a:lnSpc>
                <a:spcPts val="1800"/>
              </a:lnSpc>
              <a:spcBef>
                <a:spcPts val="0"/>
              </a:spcBef>
              <a:spcAft>
                <a:spcPts val="0"/>
              </a:spcAft>
              <a:buClrTx/>
              <a:buSzTx/>
              <a:buFontTx/>
              <a:buNone/>
              <a:tabLst/>
              <a:defRPr/>
            </a:pPr>
            <a:r>
              <a:rPr kumimoji="0" lang="es-ES" sz="2000" b="0" i="0" u="none" strike="noStrike" kern="1200" cap="none" spc="0" normalizeH="0" baseline="0" noProof="0" dirty="0">
                <a:ln>
                  <a:noFill/>
                </a:ln>
                <a:solidFill>
                  <a:srgbClr val="00C37B"/>
                </a:solidFill>
                <a:effectLst/>
                <a:uLnTx/>
                <a:uFillTx/>
                <a:latin typeface="Ubuntu Mono" panose="020B0509030602030204" pitchFamily="49" charset="0"/>
                <a:ea typeface="+mn-ea"/>
                <a:cs typeface="+mn-cs"/>
              </a:rPr>
              <a:t>Partnership </a:t>
            </a:r>
          </a:p>
          <a:p>
            <a:pPr marL="0" marR="0" lvl="0" indent="0" algn="l" defTabSz="914400" rtl="0" eaLnBrk="1" fontAlgn="auto" latinLnBrk="0" hangingPunct="1">
              <a:lnSpc>
                <a:spcPts val="1800"/>
              </a:lnSpc>
              <a:spcBef>
                <a:spcPts val="0"/>
              </a:spcBef>
              <a:spcAft>
                <a:spcPts val="0"/>
              </a:spcAft>
              <a:buClrTx/>
              <a:buSzTx/>
              <a:buFontTx/>
              <a:buNone/>
              <a:tabLst/>
              <a:defRPr/>
            </a:pPr>
            <a:r>
              <a:rPr kumimoji="0" lang="es-ES" sz="2000" b="0" i="0" u="none" strike="noStrike" kern="1200" cap="none" spc="0" normalizeH="0" baseline="0" noProof="0" dirty="0">
                <a:ln>
                  <a:noFill/>
                </a:ln>
                <a:solidFill>
                  <a:srgbClr val="00C37B"/>
                </a:solidFill>
                <a:effectLst/>
                <a:uLnTx/>
                <a:uFillTx/>
                <a:latin typeface="Ubuntu Mono" panose="020B0509030602030204" pitchFamily="49" charset="0"/>
                <a:ea typeface="+mn-ea"/>
                <a:cs typeface="+mn-cs"/>
              </a:rPr>
              <a:t>&amp; projects</a:t>
            </a:r>
            <a:endParaRPr kumimoji="0" lang="en-GB" sz="2000" b="0" i="0" u="none" strike="noStrike" kern="1200" cap="none" spc="0" normalizeH="0" baseline="0" noProof="0" dirty="0">
              <a:ln>
                <a:noFill/>
              </a:ln>
              <a:solidFill>
                <a:srgbClr val="00C37B"/>
              </a:solidFill>
              <a:effectLst/>
              <a:uLnTx/>
              <a:uFillTx/>
              <a:latin typeface="Ubuntu Mono" panose="020B0509030602030204" pitchFamily="49" charset="0"/>
              <a:ea typeface="+mn-ea"/>
              <a:cs typeface="+mn-cs"/>
            </a:endParaRPr>
          </a:p>
        </p:txBody>
      </p:sp>
      <p:sp>
        <p:nvSpPr>
          <p:cNvPr id="103" name="CuadroTexto 102">
            <a:extLst>
              <a:ext uri="{FF2B5EF4-FFF2-40B4-BE49-F238E27FC236}">
                <a16:creationId xmlns:a16="http://schemas.microsoft.com/office/drawing/2014/main" id="{88E59E6C-5E5E-4F60-ABF7-2133474A066D}"/>
              </a:ext>
            </a:extLst>
          </p:cNvPr>
          <p:cNvSpPr txBox="1"/>
          <p:nvPr/>
        </p:nvSpPr>
        <p:spPr>
          <a:xfrm>
            <a:off x="5520263" y="2865132"/>
            <a:ext cx="1850203" cy="55399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0"/>
              </a:spcAft>
              <a:buClrTx/>
              <a:buSzTx/>
              <a:buFontTx/>
              <a:buNone/>
              <a:tabLst/>
              <a:defRPr/>
            </a:pPr>
            <a:r>
              <a:rPr kumimoji="0" lang="es-ES" sz="2000" b="0" i="0" u="none" strike="noStrike" kern="1200" cap="none" spc="0" normalizeH="0" baseline="0" noProof="0" dirty="0">
                <a:ln>
                  <a:noFill/>
                </a:ln>
                <a:solidFill>
                  <a:srgbClr val="95E616"/>
                </a:solidFill>
                <a:effectLst/>
                <a:uLnTx/>
                <a:uFillTx/>
                <a:latin typeface="Ubuntu Mono" panose="020B0509030602030204" pitchFamily="49" charset="0"/>
                <a:ea typeface="+mn-ea"/>
                <a:cs typeface="+mn-cs"/>
              </a:rPr>
              <a:t>Value-added</a:t>
            </a:r>
          </a:p>
          <a:p>
            <a:pPr marL="0" marR="0" lvl="0" indent="0" algn="l" defTabSz="914400" rtl="0" eaLnBrk="1" fontAlgn="auto" latinLnBrk="0" hangingPunct="1">
              <a:lnSpc>
                <a:spcPts val="1800"/>
              </a:lnSpc>
              <a:spcBef>
                <a:spcPts val="0"/>
              </a:spcBef>
              <a:spcAft>
                <a:spcPts val="0"/>
              </a:spcAft>
              <a:buClrTx/>
              <a:buSzTx/>
              <a:buFontTx/>
              <a:buNone/>
              <a:tabLst/>
              <a:defRPr/>
            </a:pPr>
            <a:r>
              <a:rPr kumimoji="0" lang="es-ES" sz="2000" b="1" i="0" u="none" strike="noStrike" kern="1200" cap="none" spc="0" normalizeH="0" baseline="0" noProof="0" dirty="0">
                <a:ln>
                  <a:noFill/>
                </a:ln>
                <a:solidFill>
                  <a:srgbClr val="95E616"/>
                </a:solidFill>
                <a:effectLst/>
                <a:uLnTx/>
                <a:uFillTx/>
                <a:latin typeface="Ubuntu Mono" panose="020B0509030602030204" pitchFamily="49" charset="0"/>
                <a:ea typeface="+mn-ea"/>
                <a:cs typeface="+mn-cs"/>
              </a:rPr>
              <a:t>Solutions</a:t>
            </a:r>
          </a:p>
        </p:txBody>
      </p:sp>
      <p:pic>
        <p:nvPicPr>
          <p:cNvPr id="104" name="Imagen 103">
            <a:extLst>
              <a:ext uri="{FF2B5EF4-FFF2-40B4-BE49-F238E27FC236}">
                <a16:creationId xmlns:a16="http://schemas.microsoft.com/office/drawing/2014/main" id="{4CBAC805-1704-4A77-B0FD-0FA93CA6565E}"/>
              </a:ext>
            </a:extLst>
          </p:cNvPr>
          <p:cNvPicPr>
            <a:picLocks noChangeAspect="1"/>
          </p:cNvPicPr>
          <p:nvPr/>
        </p:nvPicPr>
        <p:blipFill>
          <a:blip r:embed="rId11"/>
          <a:stretch>
            <a:fillRect/>
          </a:stretch>
        </p:blipFill>
        <p:spPr>
          <a:xfrm>
            <a:off x="1412737" y="-14143"/>
            <a:ext cx="3006691" cy="1691265"/>
          </a:xfrm>
          <a:prstGeom prst="rect">
            <a:avLst/>
          </a:prstGeom>
        </p:spPr>
      </p:pic>
      <p:sp>
        <p:nvSpPr>
          <p:cNvPr id="105" name="CuadroTexto 104">
            <a:extLst>
              <a:ext uri="{FF2B5EF4-FFF2-40B4-BE49-F238E27FC236}">
                <a16:creationId xmlns:a16="http://schemas.microsoft.com/office/drawing/2014/main" id="{1E466EB1-E42D-4C2C-9D02-FBA7D1B907BE}"/>
              </a:ext>
            </a:extLst>
          </p:cNvPr>
          <p:cNvSpPr txBox="1"/>
          <p:nvPr/>
        </p:nvSpPr>
        <p:spPr>
          <a:xfrm>
            <a:off x="338737" y="2983644"/>
            <a:ext cx="1850203" cy="55399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0"/>
              </a:spcAft>
              <a:buClrTx/>
              <a:buSzTx/>
              <a:buFontTx/>
              <a:buNone/>
              <a:tabLst/>
              <a:defRPr/>
            </a:pPr>
            <a:r>
              <a:rPr kumimoji="0" lang="es-ES" sz="2000" b="0" i="0" u="none" strike="noStrike" kern="1200" cap="none" spc="0" normalizeH="0" baseline="0" noProof="0" dirty="0">
                <a:ln>
                  <a:noFill/>
                </a:ln>
                <a:solidFill>
                  <a:srgbClr val="12ABDB"/>
                </a:solidFill>
                <a:effectLst/>
                <a:uLnTx/>
                <a:uFillTx/>
                <a:latin typeface="Ubuntu Mono" panose="020B0509030602030204" pitchFamily="49" charset="0"/>
                <a:ea typeface="+mn-ea"/>
                <a:cs typeface="+mn-cs"/>
              </a:rPr>
              <a:t>Digital</a:t>
            </a:r>
          </a:p>
          <a:p>
            <a:pPr marL="0" marR="0" lvl="0" indent="0" algn="l" defTabSz="914400" rtl="0" eaLnBrk="1" fontAlgn="auto" latinLnBrk="0" hangingPunct="1">
              <a:lnSpc>
                <a:spcPts val="1800"/>
              </a:lnSpc>
              <a:spcBef>
                <a:spcPts val="0"/>
              </a:spcBef>
              <a:spcAft>
                <a:spcPts val="0"/>
              </a:spcAft>
              <a:buClrTx/>
              <a:buSzTx/>
              <a:buFontTx/>
              <a:buNone/>
              <a:tabLst/>
              <a:defRPr/>
            </a:pPr>
            <a:r>
              <a:rPr kumimoji="0" lang="es-ES" sz="2000" b="1" i="0" u="none" strike="noStrike" kern="1200" cap="none" spc="0" normalizeH="0" baseline="0" noProof="0" dirty="0">
                <a:ln>
                  <a:noFill/>
                </a:ln>
                <a:solidFill>
                  <a:srgbClr val="12ABDB"/>
                </a:solidFill>
                <a:effectLst/>
                <a:uLnTx/>
                <a:uFillTx/>
                <a:latin typeface="Ubuntu Mono" panose="020B0509030602030204" pitchFamily="49" charset="0"/>
                <a:ea typeface="+mn-ea"/>
                <a:cs typeface="+mn-cs"/>
              </a:rPr>
              <a:t>Experiences</a:t>
            </a:r>
            <a:endParaRPr kumimoji="0" lang="en-GB" sz="2000" b="0" i="0" u="none" strike="noStrike" kern="1200" cap="none" spc="0" normalizeH="0" baseline="0" noProof="0" dirty="0">
              <a:ln>
                <a:noFill/>
              </a:ln>
              <a:solidFill>
                <a:srgbClr val="12ABDB"/>
              </a:solidFill>
              <a:effectLst/>
              <a:uLnTx/>
              <a:uFillTx/>
              <a:latin typeface="Ubuntu Mono" panose="020B0509030602030204" pitchFamily="49" charset="0"/>
              <a:ea typeface="+mn-ea"/>
              <a:cs typeface="+mn-cs"/>
            </a:endParaRPr>
          </a:p>
        </p:txBody>
      </p:sp>
      <p:sp>
        <p:nvSpPr>
          <p:cNvPr id="106" name="Arco de bloque 105">
            <a:extLst>
              <a:ext uri="{FF2B5EF4-FFF2-40B4-BE49-F238E27FC236}">
                <a16:creationId xmlns:a16="http://schemas.microsoft.com/office/drawing/2014/main" id="{335527A6-7D01-49B7-A9D5-493DF2B726DB}"/>
              </a:ext>
            </a:extLst>
          </p:cNvPr>
          <p:cNvSpPr/>
          <p:nvPr/>
        </p:nvSpPr>
        <p:spPr>
          <a:xfrm>
            <a:off x="2364159" y="2710619"/>
            <a:ext cx="3344812" cy="3344811"/>
          </a:xfrm>
          <a:prstGeom prst="blockArc">
            <a:avLst>
              <a:gd name="adj1" fmla="val 10830469"/>
              <a:gd name="adj2" fmla="val 14435457"/>
              <a:gd name="adj3" fmla="val 4735"/>
            </a:avLst>
          </a:prstGeom>
          <a:gradFill>
            <a:gsLst>
              <a:gs pos="0">
                <a:schemeClr val="accent2"/>
              </a:gs>
              <a:gs pos="100000">
                <a:schemeClr val="accent3">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32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08" name="Arco de bloque 107">
            <a:extLst>
              <a:ext uri="{FF2B5EF4-FFF2-40B4-BE49-F238E27FC236}">
                <a16:creationId xmlns:a16="http://schemas.microsoft.com/office/drawing/2014/main" id="{B7519CD5-D1A0-41B2-8BE8-35488104A1CB}"/>
              </a:ext>
            </a:extLst>
          </p:cNvPr>
          <p:cNvSpPr/>
          <p:nvPr/>
        </p:nvSpPr>
        <p:spPr>
          <a:xfrm>
            <a:off x="2364159" y="2710617"/>
            <a:ext cx="3344812" cy="3344811"/>
          </a:xfrm>
          <a:prstGeom prst="blockArc">
            <a:avLst>
              <a:gd name="adj1" fmla="val 39300"/>
              <a:gd name="adj2" fmla="val 3978727"/>
              <a:gd name="adj3" fmla="val 4803"/>
            </a:avLst>
          </a:prstGeom>
          <a:gradFill>
            <a:gsLst>
              <a:gs pos="44000">
                <a:schemeClr val="accent4"/>
              </a:gs>
              <a:gs pos="100000">
                <a:schemeClr val="accent3">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32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09" name="Arco de bloque 108">
            <a:extLst>
              <a:ext uri="{FF2B5EF4-FFF2-40B4-BE49-F238E27FC236}">
                <a16:creationId xmlns:a16="http://schemas.microsoft.com/office/drawing/2014/main" id="{5AF57067-4CC2-49BE-B062-19BE39C71A73}"/>
              </a:ext>
            </a:extLst>
          </p:cNvPr>
          <p:cNvSpPr/>
          <p:nvPr/>
        </p:nvSpPr>
        <p:spPr>
          <a:xfrm>
            <a:off x="2364159" y="2710617"/>
            <a:ext cx="3344812" cy="3344811"/>
          </a:xfrm>
          <a:prstGeom prst="blockArc">
            <a:avLst>
              <a:gd name="adj1" fmla="val 6662865"/>
              <a:gd name="adj2" fmla="val 10697881"/>
              <a:gd name="adj3" fmla="val 4397"/>
            </a:avLst>
          </a:prstGeom>
          <a:gradFill>
            <a:gsLst>
              <a:gs pos="6000">
                <a:srgbClr val="00C37B">
                  <a:alpha val="0"/>
                </a:srgbClr>
              </a:gs>
              <a:gs pos="100000">
                <a:srgbClr val="00C37B"/>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3200" b="0" i="0" u="none" strike="noStrike" kern="1200" cap="none" spc="0" normalizeH="0" baseline="0" noProof="0">
              <a:ln>
                <a:noFill/>
              </a:ln>
              <a:solidFill>
                <a:srgbClr val="000000"/>
              </a:solidFill>
              <a:effectLst/>
              <a:uLnTx/>
              <a:uFillTx/>
              <a:latin typeface="Verdana"/>
              <a:ea typeface="+mn-ea"/>
              <a:cs typeface="+mn-cs"/>
            </a:endParaRPr>
          </a:p>
        </p:txBody>
      </p:sp>
      <p:sp>
        <p:nvSpPr>
          <p:cNvPr id="110" name="Arco de bloque 109">
            <a:extLst>
              <a:ext uri="{FF2B5EF4-FFF2-40B4-BE49-F238E27FC236}">
                <a16:creationId xmlns:a16="http://schemas.microsoft.com/office/drawing/2014/main" id="{CE608069-19EB-4754-812F-47C9C712A65D}"/>
              </a:ext>
            </a:extLst>
          </p:cNvPr>
          <p:cNvSpPr/>
          <p:nvPr/>
        </p:nvSpPr>
        <p:spPr>
          <a:xfrm>
            <a:off x="2364159" y="2710617"/>
            <a:ext cx="3344812" cy="3344811"/>
          </a:xfrm>
          <a:prstGeom prst="blockArc">
            <a:avLst>
              <a:gd name="adj1" fmla="val 17823800"/>
              <a:gd name="adj2" fmla="val 21547519"/>
              <a:gd name="adj3" fmla="val 5132"/>
            </a:avLst>
          </a:prstGeom>
          <a:gradFill>
            <a:gsLst>
              <a:gs pos="50000">
                <a:schemeClr val="accent5"/>
              </a:gs>
              <a:gs pos="100000">
                <a:schemeClr val="accent3">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32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17" name="Rectángulo: esquinas redondeadas 116">
            <a:extLst>
              <a:ext uri="{FF2B5EF4-FFF2-40B4-BE49-F238E27FC236}">
                <a16:creationId xmlns:a16="http://schemas.microsoft.com/office/drawing/2014/main" id="{491A8EA6-8869-483B-A8B3-B5090CF6C516}"/>
              </a:ext>
            </a:extLst>
          </p:cNvPr>
          <p:cNvSpPr/>
          <p:nvPr/>
        </p:nvSpPr>
        <p:spPr>
          <a:xfrm>
            <a:off x="5550270" y="292009"/>
            <a:ext cx="1657348" cy="206502"/>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a:ln>
                  <a:noFill/>
                </a:ln>
                <a:solidFill>
                  <a:srgbClr val="000000"/>
                </a:solidFill>
                <a:effectLst/>
                <a:uLnTx/>
                <a:uFillTx/>
                <a:latin typeface="Ubuntu Light" panose="020B0304030602030204" pitchFamily="34" charset="0"/>
                <a:ea typeface="+mn-ea"/>
                <a:cs typeface="+mn-cs"/>
              </a:rPr>
              <a:t>Smart Insights &amp; AI</a:t>
            </a:r>
          </a:p>
        </p:txBody>
      </p:sp>
      <p:sp>
        <p:nvSpPr>
          <p:cNvPr id="119" name="CuadroTexto 118">
            <a:extLst>
              <a:ext uri="{FF2B5EF4-FFF2-40B4-BE49-F238E27FC236}">
                <a16:creationId xmlns:a16="http://schemas.microsoft.com/office/drawing/2014/main" id="{306A6BF7-71CF-49CF-AA36-7602C1CAFB64}"/>
              </a:ext>
            </a:extLst>
          </p:cNvPr>
          <p:cNvSpPr txBox="1"/>
          <p:nvPr/>
        </p:nvSpPr>
        <p:spPr>
          <a:xfrm>
            <a:off x="5520263" y="539623"/>
            <a:ext cx="2565109" cy="1631216"/>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
                <a:srgbClr val="95E616"/>
              </a:buClr>
              <a:buSzTx/>
              <a:buFont typeface="Wingdings" panose="05000000000000000000" pitchFamily="2" charset="2"/>
              <a:buChar char="§"/>
              <a:tabLst/>
              <a:defRPr/>
            </a:pPr>
            <a:r>
              <a:rPr kumimoji="0" lang="es-ES" sz="1000" b="0" i="0" u="none" strike="noStrike" kern="1200" cap="none" spc="0" normalizeH="0" baseline="0" noProof="0" dirty="0">
                <a:ln>
                  <a:noFill/>
                </a:ln>
                <a:solidFill>
                  <a:prstClr val="white"/>
                </a:solidFill>
                <a:effectLst/>
                <a:uLnTx/>
                <a:uFillTx/>
                <a:latin typeface="Ubuntu Light" panose="020B0304030602030204" pitchFamily="34" charset="0"/>
                <a:ea typeface="+mn-ea"/>
                <a:cs typeface="+mn-cs"/>
              </a:rPr>
              <a:t>QualityEye &amp; QADashboards</a:t>
            </a:r>
          </a:p>
          <a:p>
            <a:pPr marL="171450" marR="0" lvl="0" indent="-171450" algn="l" defTabSz="914400" rtl="0" eaLnBrk="1" fontAlgn="auto" latinLnBrk="0" hangingPunct="1">
              <a:lnSpc>
                <a:spcPct val="100000"/>
              </a:lnSpc>
              <a:spcBef>
                <a:spcPts val="0"/>
              </a:spcBef>
              <a:spcAft>
                <a:spcPts val="0"/>
              </a:spcAft>
              <a:buClr>
                <a:srgbClr val="95E616"/>
              </a:buClr>
              <a:buSzTx/>
              <a:buFont typeface="Wingdings" panose="05000000000000000000" pitchFamily="2" charset="2"/>
              <a:buChar char="§"/>
              <a:tabLst/>
              <a:defRPr/>
            </a:pPr>
            <a:r>
              <a:rPr kumimoji="0" lang="es-ES" sz="1000" b="0" i="0" u="none" strike="noStrike" kern="1200" cap="none" spc="0" normalizeH="0" baseline="0" noProof="0" dirty="0">
                <a:ln>
                  <a:noFill/>
                </a:ln>
                <a:solidFill>
                  <a:prstClr val="white"/>
                </a:solidFill>
                <a:effectLst/>
                <a:uLnTx/>
                <a:uFillTx/>
                <a:latin typeface="Ubuntu Light" panose="020B0304030602030204" pitchFamily="34" charset="0"/>
                <a:ea typeface="+mn-ea"/>
                <a:cs typeface="+mn-cs"/>
              </a:rPr>
              <a:t>CognitiveQA</a:t>
            </a:r>
          </a:p>
          <a:p>
            <a:pPr marL="171450" marR="0" lvl="0" indent="-171450" algn="l" defTabSz="914400" rtl="0" eaLnBrk="1" fontAlgn="auto" latinLnBrk="0" hangingPunct="1">
              <a:lnSpc>
                <a:spcPct val="100000"/>
              </a:lnSpc>
              <a:spcBef>
                <a:spcPts val="0"/>
              </a:spcBef>
              <a:spcAft>
                <a:spcPts val="0"/>
              </a:spcAft>
              <a:buClr>
                <a:srgbClr val="95E616"/>
              </a:buClr>
              <a:buSzTx/>
              <a:buFont typeface="Wingdings" panose="05000000000000000000" pitchFamily="2" charset="2"/>
              <a:buChar char="§"/>
              <a:tabLst/>
              <a:defRPr/>
            </a:pPr>
            <a:r>
              <a:rPr kumimoji="0" lang="es-ES" sz="1000" b="0" i="0" u="none" strike="noStrike" kern="1200" cap="none" spc="0" normalizeH="0" baseline="0" noProof="0" dirty="0">
                <a:ln>
                  <a:noFill/>
                </a:ln>
                <a:solidFill>
                  <a:prstClr val="white"/>
                </a:solidFill>
                <a:effectLst/>
                <a:uLnTx/>
                <a:uFillTx/>
                <a:latin typeface="Ubuntu Light" panose="020B0304030602030204" pitchFamily="34" charset="0"/>
                <a:ea typeface="+mn-ea"/>
                <a:cs typeface="+mn-cs"/>
              </a:rPr>
              <a:t>AI models</a:t>
            </a:r>
          </a:p>
          <a:p>
            <a:pPr marL="171450" marR="0" lvl="0" indent="-171450" algn="l" defTabSz="914400" rtl="0" eaLnBrk="1" fontAlgn="auto" latinLnBrk="0" hangingPunct="1">
              <a:lnSpc>
                <a:spcPct val="100000"/>
              </a:lnSpc>
              <a:spcBef>
                <a:spcPts val="0"/>
              </a:spcBef>
              <a:spcAft>
                <a:spcPts val="0"/>
              </a:spcAft>
              <a:buClr>
                <a:srgbClr val="95E616"/>
              </a:buClr>
              <a:buSzTx/>
              <a:buFont typeface="Wingdings" panose="05000000000000000000" pitchFamily="2" charset="2"/>
              <a:buChar char="§"/>
              <a:tabLst/>
              <a:defRPr/>
            </a:pPr>
            <a:r>
              <a:rPr kumimoji="0" lang="es-ES" sz="1000" b="0" i="0" u="none" strike="noStrike" kern="1200" cap="none" spc="0" normalizeH="0" baseline="0" noProof="0" dirty="0">
                <a:ln>
                  <a:noFill/>
                </a:ln>
                <a:solidFill>
                  <a:prstClr val="white"/>
                </a:solidFill>
                <a:effectLst/>
                <a:uLnTx/>
                <a:uFillTx/>
                <a:latin typeface="Ubuntu Light" panose="020B0304030602030204" pitchFamily="34" charset="0"/>
                <a:ea typeface="+mn-ea"/>
                <a:cs typeface="+mn-cs"/>
              </a:rPr>
              <a:t>Chatbots development</a:t>
            </a:r>
          </a:p>
          <a:p>
            <a:pPr marL="171450" marR="0" lvl="0" indent="-171450" algn="l" defTabSz="914400" rtl="0" eaLnBrk="1" fontAlgn="auto" latinLnBrk="0" hangingPunct="1">
              <a:lnSpc>
                <a:spcPct val="100000"/>
              </a:lnSpc>
              <a:spcBef>
                <a:spcPts val="0"/>
              </a:spcBef>
              <a:spcAft>
                <a:spcPts val="0"/>
              </a:spcAft>
              <a:buClr>
                <a:srgbClr val="95E616"/>
              </a:buClr>
              <a:buSzTx/>
              <a:buFont typeface="Wingdings" panose="05000000000000000000" pitchFamily="2" charset="2"/>
              <a:buChar char="§"/>
              <a:tabLst/>
              <a:defRPr/>
            </a:pPr>
            <a:r>
              <a:rPr kumimoji="0" lang="es-ES" sz="1000" b="0" i="0" u="none" strike="noStrike" kern="1200" cap="none" spc="0" normalizeH="0" baseline="0" noProof="0" dirty="0">
                <a:ln>
                  <a:noFill/>
                </a:ln>
                <a:solidFill>
                  <a:prstClr val="white"/>
                </a:solidFill>
                <a:effectLst/>
                <a:uLnTx/>
                <a:uFillTx/>
                <a:latin typeface="Ubuntu Light" panose="020B0304030602030204" pitchFamily="34" charset="0"/>
                <a:ea typeface="+mn-ea"/>
                <a:cs typeface="+mn-cs"/>
              </a:rPr>
              <a:t>Data Information Governance (DIG)</a:t>
            </a:r>
          </a:p>
          <a:p>
            <a:pPr marL="171450" marR="0" lvl="0" indent="-171450" algn="l" defTabSz="914400" rtl="0" eaLnBrk="1" fontAlgn="auto" latinLnBrk="0" hangingPunct="1">
              <a:lnSpc>
                <a:spcPct val="100000"/>
              </a:lnSpc>
              <a:spcBef>
                <a:spcPts val="0"/>
              </a:spcBef>
              <a:spcAft>
                <a:spcPts val="0"/>
              </a:spcAft>
              <a:buClr>
                <a:srgbClr val="95E616"/>
              </a:buClr>
              <a:buSzTx/>
              <a:buFont typeface="Wingdings" panose="05000000000000000000" pitchFamily="2" charset="2"/>
              <a:buChar char="§"/>
              <a:tabLst/>
              <a:defRPr/>
            </a:pPr>
            <a:r>
              <a:rPr kumimoji="0" lang="es-ES" sz="1000" b="0" i="0" u="none" strike="noStrike" kern="1200" cap="none" spc="0" normalizeH="0" baseline="0" noProof="0" dirty="0">
                <a:ln>
                  <a:noFill/>
                </a:ln>
                <a:solidFill>
                  <a:prstClr val="white"/>
                </a:solidFill>
                <a:effectLst/>
                <a:uLnTx/>
                <a:uFillTx/>
                <a:latin typeface="Ubuntu Light" panose="020B0304030602030204" pitchFamily="34" charset="0"/>
                <a:ea typeface="+mn-ea"/>
                <a:cs typeface="+mn-cs"/>
              </a:rPr>
              <a:t>Artificial Data Amplifier (ADA)</a:t>
            </a:r>
          </a:p>
          <a:p>
            <a:pPr marL="171450" marR="0" lvl="0" indent="-171450" algn="l" defTabSz="914400" rtl="0" eaLnBrk="1" fontAlgn="auto" latinLnBrk="0" hangingPunct="1">
              <a:lnSpc>
                <a:spcPct val="100000"/>
              </a:lnSpc>
              <a:spcBef>
                <a:spcPts val="0"/>
              </a:spcBef>
              <a:spcAft>
                <a:spcPts val="0"/>
              </a:spcAft>
              <a:buClr>
                <a:srgbClr val="95E616"/>
              </a:buClr>
              <a:buSzTx/>
              <a:buFont typeface="Wingdings" panose="05000000000000000000" pitchFamily="2" charset="2"/>
              <a:buChar char="§"/>
              <a:tabLst/>
              <a:defRPr/>
            </a:pPr>
            <a:r>
              <a:rPr kumimoji="0" lang="es-ES" sz="1000" b="0" i="0" u="none" strike="noStrike" kern="1200" cap="none" spc="0" normalizeH="0" baseline="0" noProof="0" dirty="0">
                <a:ln>
                  <a:noFill/>
                </a:ln>
                <a:solidFill>
                  <a:prstClr val="white"/>
                </a:solidFill>
                <a:effectLst/>
                <a:uLnTx/>
                <a:uFillTx/>
                <a:latin typeface="Ubuntu Light" panose="020B0304030602030204" pitchFamily="34" charset="0"/>
                <a:ea typeface="+mn-ea"/>
                <a:cs typeface="+mn-cs"/>
              </a:rPr>
              <a:t>Testing AI framework</a:t>
            </a:r>
          </a:p>
          <a:p>
            <a:pPr marL="171450" marR="0" lvl="0" indent="-171450" algn="l" defTabSz="914400" rtl="0" eaLnBrk="1" fontAlgn="auto" latinLnBrk="0" hangingPunct="1">
              <a:lnSpc>
                <a:spcPct val="100000"/>
              </a:lnSpc>
              <a:spcBef>
                <a:spcPts val="0"/>
              </a:spcBef>
              <a:spcAft>
                <a:spcPts val="0"/>
              </a:spcAft>
              <a:buClr>
                <a:srgbClr val="95E616"/>
              </a:buClr>
              <a:buSzTx/>
              <a:buFont typeface="Wingdings" panose="05000000000000000000" pitchFamily="2" charset="2"/>
              <a:buChar char="§"/>
              <a:tabLst/>
              <a:defRPr/>
            </a:pPr>
            <a:r>
              <a:rPr kumimoji="0" lang="es-ES" sz="1000" b="0" i="0" u="none" strike="noStrike" kern="1200" cap="none" spc="0" normalizeH="0" baseline="0" noProof="0" dirty="0">
                <a:ln>
                  <a:noFill/>
                </a:ln>
                <a:solidFill>
                  <a:prstClr val="white"/>
                </a:solidFill>
                <a:effectLst/>
                <a:uLnTx/>
                <a:uFillTx/>
                <a:latin typeface="Ubuntu Light" panose="020B0304030602030204" pitchFamily="34" charset="0"/>
                <a:ea typeface="+mn-ea"/>
                <a:cs typeface="+mn-cs"/>
              </a:rPr>
              <a:t>CSP insights portal </a:t>
            </a:r>
          </a:p>
          <a:p>
            <a:pPr marL="171450" marR="0" lvl="0" indent="-171450" algn="l" defTabSz="914400" rtl="0" eaLnBrk="1" fontAlgn="auto" latinLnBrk="0" hangingPunct="1">
              <a:lnSpc>
                <a:spcPct val="100000"/>
              </a:lnSpc>
              <a:spcBef>
                <a:spcPts val="0"/>
              </a:spcBef>
              <a:spcAft>
                <a:spcPts val="0"/>
              </a:spcAft>
              <a:buClr>
                <a:srgbClr val="95E616"/>
              </a:buClr>
              <a:buSzTx/>
              <a:buFont typeface="Wingdings" panose="05000000000000000000" pitchFamily="2" charset="2"/>
              <a:buChar char="§"/>
              <a:tabLst/>
              <a:defRPr/>
            </a:pPr>
            <a:endParaRPr kumimoji="0" lang="es-ES" sz="1000" b="0" i="0" u="none" strike="noStrike" kern="1200" cap="none" spc="0" normalizeH="0" baseline="0" noProof="0" dirty="0">
              <a:ln>
                <a:noFill/>
              </a:ln>
              <a:solidFill>
                <a:prstClr val="white"/>
              </a:solidFill>
              <a:effectLst/>
              <a:uLnTx/>
              <a:uFillTx/>
              <a:latin typeface="Ubuntu Light" panose="020B030403060203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
                <a:srgbClr val="95E616"/>
              </a:buClr>
              <a:buSzTx/>
              <a:buFont typeface="Wingdings" panose="05000000000000000000" pitchFamily="2" charset="2"/>
              <a:buChar char="§"/>
              <a:tabLst/>
              <a:defRPr/>
            </a:pPr>
            <a:endParaRPr kumimoji="0" lang="es-ES" sz="1000" b="0" i="0" u="none" strike="noStrike" kern="1200" cap="none" spc="0" normalizeH="0" baseline="0" noProof="0" dirty="0">
              <a:ln>
                <a:noFill/>
              </a:ln>
              <a:solidFill>
                <a:prstClr val="white"/>
              </a:solidFill>
              <a:effectLst/>
              <a:uLnTx/>
              <a:uFillTx/>
              <a:latin typeface="Ubuntu Light" panose="020B0304030602030204" pitchFamily="34" charset="0"/>
              <a:ea typeface="+mn-ea"/>
              <a:cs typeface="+mn-cs"/>
            </a:endParaRPr>
          </a:p>
        </p:txBody>
      </p:sp>
      <p:sp>
        <p:nvSpPr>
          <p:cNvPr id="120" name="Rectángulo: esquinas redondeadas 119">
            <a:extLst>
              <a:ext uri="{FF2B5EF4-FFF2-40B4-BE49-F238E27FC236}">
                <a16:creationId xmlns:a16="http://schemas.microsoft.com/office/drawing/2014/main" id="{CF4365C7-8838-479F-9EA4-450F4E5E60BD}"/>
              </a:ext>
            </a:extLst>
          </p:cNvPr>
          <p:cNvSpPr/>
          <p:nvPr/>
        </p:nvSpPr>
        <p:spPr>
          <a:xfrm>
            <a:off x="5584782" y="1979360"/>
            <a:ext cx="1657348" cy="206502"/>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a:ln>
                  <a:noFill/>
                </a:ln>
                <a:solidFill>
                  <a:srgbClr val="000000"/>
                </a:solidFill>
                <a:effectLst/>
                <a:uLnTx/>
                <a:uFillTx/>
                <a:latin typeface="Ubuntu Light" panose="020B0304030602030204" pitchFamily="34" charset="0"/>
                <a:ea typeface="+mn-ea"/>
                <a:cs typeface="+mn-cs"/>
              </a:rPr>
              <a:t>DevOps &amp; Automation</a:t>
            </a:r>
          </a:p>
        </p:txBody>
      </p:sp>
      <p:sp>
        <p:nvSpPr>
          <p:cNvPr id="121" name="CuadroTexto 120">
            <a:extLst>
              <a:ext uri="{FF2B5EF4-FFF2-40B4-BE49-F238E27FC236}">
                <a16:creationId xmlns:a16="http://schemas.microsoft.com/office/drawing/2014/main" id="{F8F3F47C-8318-44BA-8B9F-3AE3FBFFBDC5}"/>
              </a:ext>
            </a:extLst>
          </p:cNvPr>
          <p:cNvSpPr txBox="1"/>
          <p:nvPr/>
        </p:nvSpPr>
        <p:spPr>
          <a:xfrm>
            <a:off x="5523713" y="2228580"/>
            <a:ext cx="2351177" cy="861774"/>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
                <a:srgbClr val="95E616"/>
              </a:buClr>
              <a:buSzTx/>
              <a:buFont typeface="Wingdings" panose="05000000000000000000" pitchFamily="2" charset="2"/>
              <a:buChar char="§"/>
              <a:tabLst/>
              <a:defRPr/>
            </a:pPr>
            <a:r>
              <a:rPr kumimoji="0" lang="es-ES" sz="1000" b="0" i="0" u="none" strike="noStrike" kern="1200" cap="none" spc="0" normalizeH="0" baseline="0" noProof="0" dirty="0">
                <a:ln>
                  <a:noFill/>
                </a:ln>
                <a:solidFill>
                  <a:prstClr val="white"/>
                </a:solidFill>
                <a:effectLst/>
                <a:uLnTx/>
                <a:uFillTx/>
                <a:latin typeface="Ubuntu Light" panose="020B0304030602030204" pitchFamily="34" charset="0"/>
                <a:ea typeface="+mn-ea"/>
                <a:cs typeface="+mn-cs"/>
              </a:rPr>
              <a:t>Test automation tech observatory</a:t>
            </a:r>
          </a:p>
          <a:p>
            <a:pPr marL="171450" marR="0" lvl="0" indent="-171450" algn="l" defTabSz="914400" rtl="0" eaLnBrk="1" fontAlgn="auto" latinLnBrk="0" hangingPunct="1">
              <a:lnSpc>
                <a:spcPct val="100000"/>
              </a:lnSpc>
              <a:spcBef>
                <a:spcPts val="0"/>
              </a:spcBef>
              <a:spcAft>
                <a:spcPts val="0"/>
              </a:spcAft>
              <a:buClr>
                <a:srgbClr val="95E616"/>
              </a:buClr>
              <a:buSzTx/>
              <a:buFont typeface="Wingdings" panose="05000000000000000000" pitchFamily="2" charset="2"/>
              <a:buChar char="§"/>
              <a:tabLst/>
              <a:defRPr/>
            </a:pPr>
            <a:r>
              <a:rPr kumimoji="0" lang="es-ES" sz="1000" b="0" i="0" u="none" strike="noStrike" kern="1200" cap="none" spc="0" normalizeH="0" baseline="0" noProof="0" dirty="0">
                <a:ln>
                  <a:noFill/>
                </a:ln>
                <a:solidFill>
                  <a:prstClr val="white"/>
                </a:solidFill>
                <a:effectLst/>
                <a:uLnTx/>
                <a:uFillTx/>
                <a:latin typeface="Ubuntu Light" panose="020B0304030602030204" pitchFamily="34" charset="0"/>
                <a:ea typeface="+mn-ea"/>
                <a:cs typeface="+mn-cs"/>
              </a:rPr>
              <a:t>TestLab (showcase y capacidades)</a:t>
            </a:r>
          </a:p>
          <a:p>
            <a:pPr marL="171450" marR="0" lvl="0" indent="-171450" algn="l" defTabSz="914400" rtl="0" eaLnBrk="1" fontAlgn="auto" latinLnBrk="0" hangingPunct="1">
              <a:lnSpc>
                <a:spcPct val="100000"/>
              </a:lnSpc>
              <a:spcBef>
                <a:spcPts val="0"/>
              </a:spcBef>
              <a:spcAft>
                <a:spcPts val="0"/>
              </a:spcAft>
              <a:buClr>
                <a:srgbClr val="95E616"/>
              </a:buClr>
              <a:buSzTx/>
              <a:buFont typeface="Wingdings" panose="05000000000000000000" pitchFamily="2" charset="2"/>
              <a:buChar char="§"/>
              <a:tabLst/>
              <a:defRPr/>
            </a:pPr>
            <a:r>
              <a:rPr kumimoji="0" lang="es-ES" sz="1000" b="0" i="0" u="none" strike="noStrike" kern="1200" cap="none" spc="0" normalizeH="0" baseline="0" noProof="0" dirty="0">
                <a:ln>
                  <a:noFill/>
                </a:ln>
                <a:solidFill>
                  <a:prstClr val="white"/>
                </a:solidFill>
                <a:effectLst/>
                <a:uLnTx/>
                <a:uFillTx/>
                <a:latin typeface="Ubuntu Light" panose="020B0304030602030204" pitchFamily="34" charset="0"/>
                <a:ea typeface="+mn-ea"/>
                <a:cs typeface="+mn-cs"/>
              </a:rPr>
              <a:t>Dev(QA)Ops frameworks</a:t>
            </a:r>
          </a:p>
          <a:p>
            <a:pPr marL="171450" marR="0" lvl="0" indent="-171450" algn="l" defTabSz="914400" rtl="0" eaLnBrk="1" fontAlgn="auto" latinLnBrk="0" hangingPunct="1">
              <a:lnSpc>
                <a:spcPct val="100000"/>
              </a:lnSpc>
              <a:spcBef>
                <a:spcPts val="0"/>
              </a:spcBef>
              <a:spcAft>
                <a:spcPts val="0"/>
              </a:spcAft>
              <a:buClr>
                <a:srgbClr val="95E616"/>
              </a:buClr>
              <a:buSzTx/>
              <a:buFont typeface="Wingdings" panose="05000000000000000000" pitchFamily="2" charset="2"/>
              <a:buChar char="§"/>
              <a:tabLst/>
              <a:defRPr/>
            </a:pPr>
            <a:endParaRPr kumimoji="0" lang="es-ES" sz="1000" b="0" i="0" u="none" strike="noStrike" kern="1200" cap="none" spc="0" normalizeH="0" baseline="0" noProof="0" dirty="0">
              <a:ln>
                <a:noFill/>
              </a:ln>
              <a:solidFill>
                <a:prstClr val="white"/>
              </a:solidFill>
              <a:effectLst/>
              <a:uLnTx/>
              <a:uFillTx/>
              <a:latin typeface="Ubuntu Light" panose="020B030403060203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
                <a:srgbClr val="95E616"/>
              </a:buClr>
              <a:buSzTx/>
              <a:buFont typeface="Wingdings" panose="05000000000000000000" pitchFamily="2" charset="2"/>
              <a:buChar char="§"/>
              <a:tabLst/>
              <a:defRPr/>
            </a:pPr>
            <a:endParaRPr kumimoji="0" lang="es-ES" sz="1000" b="0" i="0" u="none" strike="noStrike" kern="1200" cap="none" spc="0" normalizeH="0" baseline="0" noProof="0" dirty="0">
              <a:ln>
                <a:noFill/>
              </a:ln>
              <a:solidFill>
                <a:prstClr val="white"/>
              </a:solidFill>
              <a:effectLst/>
              <a:uLnTx/>
              <a:uFillTx/>
              <a:latin typeface="Ubuntu Light" panose="020B0304030602030204" pitchFamily="34" charset="0"/>
              <a:ea typeface="+mn-ea"/>
              <a:cs typeface="+mn-cs"/>
            </a:endParaRPr>
          </a:p>
        </p:txBody>
      </p:sp>
      <p:sp>
        <p:nvSpPr>
          <p:cNvPr id="122" name="CuadroTexto 121">
            <a:extLst>
              <a:ext uri="{FF2B5EF4-FFF2-40B4-BE49-F238E27FC236}">
                <a16:creationId xmlns:a16="http://schemas.microsoft.com/office/drawing/2014/main" id="{A348B2C5-D5B0-472A-8A29-B5544042E876}"/>
              </a:ext>
            </a:extLst>
          </p:cNvPr>
          <p:cNvSpPr txBox="1"/>
          <p:nvPr/>
        </p:nvSpPr>
        <p:spPr>
          <a:xfrm>
            <a:off x="345215" y="3540795"/>
            <a:ext cx="1804005" cy="1600438"/>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
                <a:srgbClr val="12ABDB"/>
              </a:buClr>
              <a:buSzTx/>
              <a:buFont typeface="Wingdings" panose="05000000000000000000" pitchFamily="2" charset="2"/>
              <a:buChar char="§"/>
              <a:tabLst/>
              <a:defRPr/>
            </a:pPr>
            <a:r>
              <a:rPr kumimoji="0" lang="es-ES" sz="1000" b="0" i="0" u="none" strike="noStrike" kern="1200" cap="none" spc="0" normalizeH="0" baseline="0" noProof="0" dirty="0">
                <a:ln>
                  <a:noFill/>
                </a:ln>
                <a:solidFill>
                  <a:prstClr val="white"/>
                </a:solidFill>
                <a:effectLst/>
                <a:uLnTx/>
                <a:uFillTx/>
                <a:latin typeface="Ubuntu Light" panose="020B0304030602030204" pitchFamily="34" charset="0"/>
                <a:ea typeface="+mn-ea"/>
                <a:cs typeface="+mn-cs"/>
              </a:rPr>
              <a:t>Sogeti Virtual visit</a:t>
            </a:r>
          </a:p>
          <a:p>
            <a:pPr marL="171450" marR="0" lvl="0" indent="-171450" algn="l" defTabSz="914400" rtl="0" eaLnBrk="1" fontAlgn="auto" latinLnBrk="0" hangingPunct="1">
              <a:lnSpc>
                <a:spcPct val="100000"/>
              </a:lnSpc>
              <a:spcBef>
                <a:spcPts val="0"/>
              </a:spcBef>
              <a:spcAft>
                <a:spcPts val="0"/>
              </a:spcAft>
              <a:buClr>
                <a:srgbClr val="12ABDB"/>
              </a:buClr>
              <a:buSzTx/>
              <a:buFont typeface="Wingdings" panose="05000000000000000000" pitchFamily="2" charset="2"/>
              <a:buChar char="§"/>
              <a:tabLst/>
              <a:defRPr/>
            </a:pPr>
            <a:r>
              <a:rPr kumimoji="0" lang="es-ES" sz="1000" b="0" i="0" u="none" strike="noStrike" kern="1200" cap="none" spc="0" normalizeH="0" baseline="0" noProof="0" dirty="0">
                <a:ln>
                  <a:noFill/>
                </a:ln>
                <a:solidFill>
                  <a:prstClr val="white"/>
                </a:solidFill>
                <a:effectLst/>
                <a:uLnTx/>
                <a:uFillTx/>
                <a:latin typeface="Ubuntu Light" panose="020B0304030602030204" pitchFamily="34" charset="0"/>
                <a:ea typeface="+mn-ea"/>
                <a:cs typeface="+mn-cs"/>
              </a:rPr>
              <a:t>3D Virtual reality modeling for digital assistance</a:t>
            </a:r>
          </a:p>
          <a:p>
            <a:pPr marL="171450" marR="0" lvl="0" indent="-171450" algn="l" defTabSz="914400" rtl="0" eaLnBrk="1" fontAlgn="auto" latinLnBrk="0" hangingPunct="1">
              <a:lnSpc>
                <a:spcPct val="100000"/>
              </a:lnSpc>
              <a:spcBef>
                <a:spcPts val="0"/>
              </a:spcBef>
              <a:spcAft>
                <a:spcPts val="0"/>
              </a:spcAft>
              <a:buClr>
                <a:srgbClr val="12ABDB"/>
              </a:buClr>
              <a:buSzTx/>
              <a:buFont typeface="Wingdings" panose="05000000000000000000" pitchFamily="2" charset="2"/>
              <a:buChar char="§"/>
              <a:tabLst/>
              <a:defRPr/>
            </a:pPr>
            <a:r>
              <a:rPr kumimoji="0" lang="es-ES" sz="1000" b="0" i="0" u="none" strike="noStrike" kern="1200" cap="none" spc="0" normalizeH="0" baseline="0" noProof="0" dirty="0">
                <a:ln>
                  <a:noFill/>
                </a:ln>
                <a:solidFill>
                  <a:prstClr val="white"/>
                </a:solidFill>
                <a:effectLst/>
                <a:uLnTx/>
                <a:uFillTx/>
                <a:latin typeface="Ubuntu Light" panose="020B0304030602030204" pitchFamily="34" charset="0"/>
                <a:ea typeface="+mn-ea"/>
                <a:cs typeface="+mn-cs"/>
              </a:rPr>
              <a:t>SogetiHub</a:t>
            </a:r>
          </a:p>
          <a:p>
            <a:pPr marL="171450" marR="0" lvl="0" indent="-171450" algn="l" defTabSz="914400" rtl="0" eaLnBrk="1" fontAlgn="auto" latinLnBrk="0" hangingPunct="1">
              <a:lnSpc>
                <a:spcPct val="100000"/>
              </a:lnSpc>
              <a:spcBef>
                <a:spcPts val="0"/>
              </a:spcBef>
              <a:spcAft>
                <a:spcPts val="0"/>
              </a:spcAft>
              <a:buClr>
                <a:srgbClr val="12ABDB"/>
              </a:buClr>
              <a:buSzTx/>
              <a:buFont typeface="Wingdings" panose="05000000000000000000" pitchFamily="2" charset="2"/>
              <a:buChar char="§"/>
              <a:tabLst/>
              <a:defRPr/>
            </a:pPr>
            <a:r>
              <a:rPr kumimoji="0" lang="es-ES" sz="1000" b="0" i="0" u="none" strike="noStrike" kern="1200" cap="none" spc="0" normalizeH="0" baseline="0" noProof="0" dirty="0">
                <a:ln>
                  <a:noFill/>
                </a:ln>
                <a:solidFill>
                  <a:prstClr val="white"/>
                </a:solidFill>
                <a:effectLst/>
                <a:uLnTx/>
                <a:uFillTx/>
                <a:latin typeface="Ubuntu Light" panose="020B0304030602030204" pitchFamily="34" charset="0"/>
                <a:ea typeface="+mn-ea"/>
                <a:cs typeface="+mn-cs"/>
              </a:rPr>
              <a:t>New Power Platform apps </a:t>
            </a:r>
            <a:r>
              <a:rPr kumimoji="0" lang="es-ES" sz="800" b="0" i="0" u="none" strike="noStrike" kern="1200" cap="none" spc="0" normalizeH="0" baseline="0" noProof="0" dirty="0">
                <a:ln>
                  <a:noFill/>
                </a:ln>
                <a:solidFill>
                  <a:prstClr val="white"/>
                </a:solidFill>
                <a:effectLst/>
                <a:uLnTx/>
                <a:uFillTx/>
                <a:latin typeface="Ubuntu Light" panose="020B0304030602030204" pitchFamily="34" charset="0"/>
                <a:ea typeface="+mn-ea"/>
                <a:cs typeface="+mn-cs"/>
              </a:rPr>
              <a:t>(Onboarding, people management, sites booking,…)</a:t>
            </a:r>
          </a:p>
          <a:p>
            <a:pPr marL="171450" marR="0" lvl="0" indent="-171450" algn="l" defTabSz="914400" rtl="0" eaLnBrk="1" fontAlgn="auto" latinLnBrk="0" hangingPunct="1">
              <a:lnSpc>
                <a:spcPct val="100000"/>
              </a:lnSpc>
              <a:spcBef>
                <a:spcPts val="0"/>
              </a:spcBef>
              <a:spcAft>
                <a:spcPts val="0"/>
              </a:spcAft>
              <a:buClr>
                <a:srgbClr val="95E616"/>
              </a:buClr>
              <a:buSzTx/>
              <a:buFont typeface="Wingdings" panose="05000000000000000000" pitchFamily="2" charset="2"/>
              <a:buChar char="§"/>
              <a:tabLst/>
              <a:defRPr/>
            </a:pPr>
            <a:endParaRPr kumimoji="0" lang="es-ES" sz="1000" b="0" i="0" u="none" strike="noStrike" kern="1200" cap="none" spc="0" normalizeH="0" baseline="0" noProof="0" dirty="0">
              <a:ln>
                <a:noFill/>
              </a:ln>
              <a:solidFill>
                <a:prstClr val="white"/>
              </a:solidFill>
              <a:effectLst/>
              <a:uLnTx/>
              <a:uFillTx/>
              <a:latin typeface="Ubuntu Light" panose="020B030403060203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
                <a:srgbClr val="95E616"/>
              </a:buClr>
              <a:buSzTx/>
              <a:buFont typeface="Wingdings" panose="05000000000000000000" pitchFamily="2" charset="2"/>
              <a:buChar char="§"/>
              <a:tabLst/>
              <a:defRPr/>
            </a:pPr>
            <a:endParaRPr kumimoji="0" lang="es-ES" sz="1000" b="0" i="0" u="none" strike="noStrike" kern="1200" cap="none" spc="0" normalizeH="0" baseline="0" noProof="0" dirty="0">
              <a:ln>
                <a:noFill/>
              </a:ln>
              <a:solidFill>
                <a:prstClr val="white"/>
              </a:solidFill>
              <a:effectLst/>
              <a:uLnTx/>
              <a:uFillTx/>
              <a:latin typeface="Ubuntu Light" panose="020B0304030602030204" pitchFamily="34" charset="0"/>
              <a:ea typeface="+mn-ea"/>
              <a:cs typeface="+mn-cs"/>
            </a:endParaRPr>
          </a:p>
        </p:txBody>
      </p:sp>
      <p:sp>
        <p:nvSpPr>
          <p:cNvPr id="123" name="CuadroTexto 122">
            <a:extLst>
              <a:ext uri="{FF2B5EF4-FFF2-40B4-BE49-F238E27FC236}">
                <a16:creationId xmlns:a16="http://schemas.microsoft.com/office/drawing/2014/main" id="{3EADA886-8D73-4F5F-BE48-A0A5FB07EF55}"/>
              </a:ext>
            </a:extLst>
          </p:cNvPr>
          <p:cNvSpPr txBox="1"/>
          <p:nvPr/>
        </p:nvSpPr>
        <p:spPr>
          <a:xfrm>
            <a:off x="342827" y="5781939"/>
            <a:ext cx="1949741" cy="861774"/>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
                <a:srgbClr val="00C37B"/>
              </a:buClr>
              <a:buSzTx/>
              <a:buFont typeface="Wingdings" panose="05000000000000000000" pitchFamily="2" charset="2"/>
              <a:buChar char="§"/>
              <a:tabLst/>
              <a:defRPr/>
            </a:pPr>
            <a:r>
              <a:rPr kumimoji="0" lang="en-US" sz="1000" b="0" i="0" u="none" strike="noStrike" kern="1200" cap="none" spc="0" normalizeH="0" baseline="0" noProof="0" dirty="0">
                <a:ln>
                  <a:noFill/>
                </a:ln>
                <a:solidFill>
                  <a:prstClr val="white"/>
                </a:solidFill>
                <a:effectLst/>
                <a:uLnTx/>
                <a:uFillTx/>
                <a:latin typeface="Ubuntu Light" panose="020B0304030602030204" pitchFamily="34" charset="0"/>
                <a:ea typeface="+mn-ea"/>
                <a:cs typeface="+mn-cs"/>
              </a:rPr>
              <a:t>Proof of Value projects with customers</a:t>
            </a:r>
          </a:p>
          <a:p>
            <a:pPr marL="171450" marR="0" lvl="0" indent="-171450" algn="l" defTabSz="914400" rtl="0" eaLnBrk="1" fontAlgn="auto" latinLnBrk="0" hangingPunct="1">
              <a:lnSpc>
                <a:spcPct val="100000"/>
              </a:lnSpc>
              <a:spcBef>
                <a:spcPts val="0"/>
              </a:spcBef>
              <a:spcAft>
                <a:spcPts val="0"/>
              </a:spcAft>
              <a:buClr>
                <a:srgbClr val="00C37B"/>
              </a:buClr>
              <a:buSzTx/>
              <a:buFont typeface="Wingdings" panose="05000000000000000000" pitchFamily="2" charset="2"/>
              <a:buChar char="§"/>
              <a:tabLst/>
              <a:defRPr/>
            </a:pPr>
            <a:r>
              <a:rPr kumimoji="0" lang="es-ES" sz="1000" b="0" i="0" u="none" strike="noStrike" kern="1200" cap="none" spc="0" normalizeH="0" baseline="0" noProof="0" dirty="0">
                <a:ln>
                  <a:noFill/>
                </a:ln>
                <a:solidFill>
                  <a:prstClr val="white"/>
                </a:solidFill>
                <a:effectLst/>
                <a:uLnTx/>
                <a:uFillTx/>
                <a:latin typeface="Ubuntu Light" panose="020B0304030602030204" pitchFamily="34" charset="0"/>
                <a:ea typeface="+mn-ea"/>
                <a:cs typeface="+mn-cs"/>
              </a:rPr>
              <a:t>Esports partnership</a:t>
            </a:r>
          </a:p>
          <a:p>
            <a:pPr marL="171450" marR="0" lvl="0" indent="-171450" algn="l" defTabSz="914400" rtl="0" eaLnBrk="1" fontAlgn="auto" latinLnBrk="0" hangingPunct="1">
              <a:lnSpc>
                <a:spcPct val="100000"/>
              </a:lnSpc>
              <a:spcBef>
                <a:spcPts val="0"/>
              </a:spcBef>
              <a:spcAft>
                <a:spcPts val="0"/>
              </a:spcAft>
              <a:buClr>
                <a:srgbClr val="00C37B"/>
              </a:buClr>
              <a:buSzTx/>
              <a:buFont typeface="Wingdings" panose="05000000000000000000" pitchFamily="2" charset="2"/>
              <a:buChar char="§"/>
              <a:tabLst/>
              <a:defRPr/>
            </a:pPr>
            <a:endParaRPr kumimoji="0" lang="es-ES" sz="1000" b="0" i="0" u="none" strike="noStrike" kern="1200" cap="none" spc="0" normalizeH="0" baseline="0" noProof="0" dirty="0">
              <a:ln>
                <a:noFill/>
              </a:ln>
              <a:solidFill>
                <a:prstClr val="white"/>
              </a:solidFill>
              <a:effectLst/>
              <a:uLnTx/>
              <a:uFillTx/>
              <a:latin typeface="Ubuntu Light" panose="020B030403060203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
                <a:srgbClr val="00C37B"/>
              </a:buClr>
              <a:buSzTx/>
              <a:buFont typeface="Wingdings" panose="05000000000000000000" pitchFamily="2" charset="2"/>
              <a:buChar char="§"/>
              <a:tabLst/>
              <a:defRPr/>
            </a:pPr>
            <a:endParaRPr kumimoji="0" lang="es-ES" sz="1000" b="0" i="0" u="none" strike="noStrike" kern="1200" cap="none" spc="0" normalizeH="0" baseline="0" noProof="0" dirty="0">
              <a:ln>
                <a:noFill/>
              </a:ln>
              <a:solidFill>
                <a:prstClr val="white"/>
              </a:solidFill>
              <a:effectLst/>
              <a:uLnTx/>
              <a:uFillTx/>
              <a:latin typeface="Ubuntu Light" panose="020B0304030602030204" pitchFamily="34" charset="0"/>
              <a:ea typeface="+mn-ea"/>
              <a:cs typeface="+mn-cs"/>
            </a:endParaRPr>
          </a:p>
        </p:txBody>
      </p:sp>
      <p:cxnSp>
        <p:nvCxnSpPr>
          <p:cNvPr id="127" name="Conector recto 126">
            <a:extLst>
              <a:ext uri="{FF2B5EF4-FFF2-40B4-BE49-F238E27FC236}">
                <a16:creationId xmlns:a16="http://schemas.microsoft.com/office/drawing/2014/main" id="{B2DCB1F7-62D0-40B4-B58E-77066F3C018A}"/>
              </a:ext>
            </a:extLst>
          </p:cNvPr>
          <p:cNvCxnSpPr>
            <a:cxnSpLocks/>
          </p:cNvCxnSpPr>
          <p:nvPr/>
        </p:nvCxnSpPr>
        <p:spPr>
          <a:xfrm>
            <a:off x="7004901" y="3242791"/>
            <a:ext cx="0" cy="1163431"/>
          </a:xfrm>
          <a:prstGeom prst="line">
            <a:avLst/>
          </a:prstGeom>
          <a:ln w="19050">
            <a:solidFill>
              <a:schemeClr val="bg2">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9" name="CuadroTexto 128">
            <a:extLst>
              <a:ext uri="{FF2B5EF4-FFF2-40B4-BE49-F238E27FC236}">
                <a16:creationId xmlns:a16="http://schemas.microsoft.com/office/drawing/2014/main" id="{710825CA-89F4-45E2-93A5-EEFA19779734}"/>
              </a:ext>
            </a:extLst>
          </p:cNvPr>
          <p:cNvSpPr txBox="1"/>
          <p:nvPr/>
        </p:nvSpPr>
        <p:spPr>
          <a:xfrm>
            <a:off x="7084541" y="3412358"/>
            <a:ext cx="2351177" cy="1631216"/>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
                <a:srgbClr val="EDEDED">
                  <a:lumMod val="50000"/>
                </a:srgbClr>
              </a:buClr>
              <a:buSzTx/>
              <a:buFont typeface="Wingdings" panose="05000000000000000000" pitchFamily="2" charset="2"/>
              <a:buChar char="§"/>
              <a:tabLst/>
              <a:defRPr/>
            </a:pPr>
            <a:r>
              <a:rPr kumimoji="0" lang="es-ES" sz="1000" b="0" i="0" u="none" strike="noStrike" kern="1200" cap="none" spc="0" normalizeH="0" baseline="0" noProof="0" dirty="0">
                <a:ln>
                  <a:noFill/>
                </a:ln>
                <a:solidFill>
                  <a:srgbClr val="EDEDED">
                    <a:lumMod val="50000"/>
                  </a:srgbClr>
                </a:solidFill>
                <a:effectLst/>
                <a:uLnTx/>
                <a:uFillTx/>
                <a:latin typeface="Ubuntu Light" panose="020B0304030602030204" pitchFamily="34" charset="0"/>
                <a:ea typeface="+mn-ea"/>
                <a:cs typeface="+mn-cs"/>
              </a:rPr>
              <a:t>Performance window</a:t>
            </a:r>
          </a:p>
          <a:p>
            <a:pPr marL="171450" marR="0" lvl="0" indent="-171450" algn="l" defTabSz="914400" rtl="0" eaLnBrk="1" fontAlgn="auto" latinLnBrk="0" hangingPunct="1">
              <a:lnSpc>
                <a:spcPct val="100000"/>
              </a:lnSpc>
              <a:spcBef>
                <a:spcPts val="0"/>
              </a:spcBef>
              <a:spcAft>
                <a:spcPts val="0"/>
              </a:spcAft>
              <a:buClr>
                <a:srgbClr val="EDEDED">
                  <a:lumMod val="50000"/>
                </a:srgbClr>
              </a:buClr>
              <a:buSzTx/>
              <a:buFont typeface="Wingdings" panose="05000000000000000000" pitchFamily="2" charset="2"/>
              <a:buChar char="§"/>
              <a:tabLst/>
              <a:defRPr/>
            </a:pPr>
            <a:r>
              <a:rPr kumimoji="0" lang="es-ES" sz="1000" b="0" i="0" u="none" strike="noStrike" kern="1200" cap="none" spc="0" normalizeH="0" baseline="0" noProof="0" dirty="0">
                <a:ln>
                  <a:noFill/>
                </a:ln>
                <a:solidFill>
                  <a:srgbClr val="EDEDED">
                    <a:lumMod val="50000"/>
                  </a:srgbClr>
                </a:solidFill>
                <a:effectLst/>
                <a:uLnTx/>
                <a:uFillTx/>
                <a:latin typeface="Ubuntu Light" panose="020B0304030602030204" pitchFamily="34" charset="0"/>
                <a:ea typeface="+mn-ea"/>
                <a:cs typeface="+mn-cs"/>
              </a:rPr>
              <a:t>QA Doctor</a:t>
            </a:r>
          </a:p>
          <a:p>
            <a:pPr marL="171450" marR="0" lvl="0" indent="-171450" algn="l" defTabSz="914400" rtl="0" eaLnBrk="1" fontAlgn="auto" latinLnBrk="0" hangingPunct="1">
              <a:lnSpc>
                <a:spcPct val="100000"/>
              </a:lnSpc>
              <a:spcBef>
                <a:spcPts val="0"/>
              </a:spcBef>
              <a:spcAft>
                <a:spcPts val="0"/>
              </a:spcAft>
              <a:buClr>
                <a:srgbClr val="EDEDED">
                  <a:lumMod val="50000"/>
                </a:srgbClr>
              </a:buClr>
              <a:buSzTx/>
              <a:buFont typeface="Wingdings" panose="05000000000000000000" pitchFamily="2" charset="2"/>
              <a:buChar char="§"/>
              <a:tabLst/>
              <a:defRPr/>
            </a:pPr>
            <a:r>
              <a:rPr kumimoji="0" lang="es-ES" sz="1000" b="0" i="0" u="none" strike="noStrike" kern="1200" cap="none" spc="0" normalizeH="0" baseline="0" noProof="0" dirty="0">
                <a:ln>
                  <a:noFill/>
                </a:ln>
                <a:solidFill>
                  <a:srgbClr val="EDEDED">
                    <a:lumMod val="50000"/>
                  </a:srgbClr>
                </a:solidFill>
                <a:effectLst/>
                <a:uLnTx/>
                <a:uFillTx/>
                <a:latin typeface="Ubuntu Light" panose="020B0304030602030204" pitchFamily="34" charset="0"/>
                <a:ea typeface="+mn-ea"/>
                <a:cs typeface="+mn-cs"/>
              </a:rPr>
              <a:t>Inclusion and equality testing</a:t>
            </a:r>
          </a:p>
          <a:p>
            <a:pPr marL="171450" marR="0" lvl="0" indent="-171450" algn="l" defTabSz="914400" rtl="0" eaLnBrk="1" fontAlgn="auto" latinLnBrk="0" hangingPunct="1">
              <a:lnSpc>
                <a:spcPct val="100000"/>
              </a:lnSpc>
              <a:spcBef>
                <a:spcPts val="0"/>
              </a:spcBef>
              <a:spcAft>
                <a:spcPts val="0"/>
              </a:spcAft>
              <a:buClr>
                <a:srgbClr val="EDEDED">
                  <a:lumMod val="50000"/>
                </a:srgbClr>
              </a:buClr>
              <a:buSzTx/>
              <a:buFont typeface="Wingdings" panose="05000000000000000000" pitchFamily="2" charset="2"/>
              <a:buChar char="§"/>
              <a:tabLst/>
              <a:defRPr/>
            </a:pPr>
            <a:r>
              <a:rPr kumimoji="0" lang="es-ES" sz="1000" b="0" i="0" u="none" strike="noStrike" kern="1200" cap="none" spc="0" normalizeH="0" baseline="0" noProof="0" dirty="0">
                <a:ln>
                  <a:noFill/>
                </a:ln>
                <a:solidFill>
                  <a:srgbClr val="EDEDED">
                    <a:lumMod val="50000"/>
                  </a:srgbClr>
                </a:solidFill>
                <a:effectLst/>
                <a:uLnTx/>
                <a:uFillTx/>
                <a:latin typeface="Ubuntu Light" panose="020B0304030602030204" pitchFamily="34" charset="0"/>
                <a:ea typeface="+mn-ea"/>
                <a:cs typeface="+mn-cs"/>
              </a:rPr>
              <a:t> Smart Quality Gates</a:t>
            </a:r>
          </a:p>
          <a:p>
            <a:pPr marL="171450" marR="0" lvl="0" indent="-171450" algn="l" defTabSz="914400" rtl="0" eaLnBrk="1" fontAlgn="auto" latinLnBrk="0" hangingPunct="1">
              <a:lnSpc>
                <a:spcPct val="100000"/>
              </a:lnSpc>
              <a:spcBef>
                <a:spcPts val="0"/>
              </a:spcBef>
              <a:spcAft>
                <a:spcPts val="0"/>
              </a:spcAft>
              <a:buClr>
                <a:srgbClr val="EDEDED">
                  <a:lumMod val="50000"/>
                </a:srgbClr>
              </a:buClr>
              <a:buSzTx/>
              <a:buFont typeface="Wingdings" panose="05000000000000000000" pitchFamily="2" charset="2"/>
              <a:buChar char="§"/>
              <a:tabLst/>
              <a:defRPr/>
            </a:pPr>
            <a:r>
              <a:rPr kumimoji="0" lang="es-ES" sz="1000" b="0" i="0" u="none" strike="noStrike" kern="1200" cap="none" spc="0" normalizeH="0" baseline="0" noProof="0" dirty="0">
                <a:ln>
                  <a:noFill/>
                </a:ln>
                <a:solidFill>
                  <a:srgbClr val="EDEDED">
                    <a:lumMod val="50000"/>
                  </a:srgbClr>
                </a:solidFill>
                <a:effectLst/>
                <a:uLnTx/>
                <a:uFillTx/>
                <a:latin typeface="Ubuntu Light" panose="020B0304030602030204" pitchFamily="34" charset="0"/>
                <a:ea typeface="+mn-ea"/>
                <a:cs typeface="+mn-cs"/>
              </a:rPr>
              <a:t>eSports solidarity platform</a:t>
            </a:r>
          </a:p>
          <a:p>
            <a:pPr marL="171450" marR="0" lvl="0" indent="-171450" algn="l" defTabSz="914400" rtl="0" eaLnBrk="1" fontAlgn="auto" latinLnBrk="0" hangingPunct="1">
              <a:lnSpc>
                <a:spcPct val="100000"/>
              </a:lnSpc>
              <a:spcBef>
                <a:spcPts val="0"/>
              </a:spcBef>
              <a:spcAft>
                <a:spcPts val="0"/>
              </a:spcAft>
              <a:buClr>
                <a:srgbClr val="EDEDED">
                  <a:lumMod val="50000"/>
                </a:srgbClr>
              </a:buClr>
              <a:buSzTx/>
              <a:buFont typeface="Wingdings" panose="05000000000000000000" pitchFamily="2" charset="2"/>
              <a:buChar char="§"/>
              <a:tabLst/>
              <a:defRPr/>
            </a:pPr>
            <a:r>
              <a:rPr kumimoji="0" lang="es-ES" sz="1000" b="0" i="0" u="none" strike="noStrike" kern="1200" cap="none" spc="0" normalizeH="0" baseline="0" noProof="0" dirty="0">
                <a:ln>
                  <a:noFill/>
                </a:ln>
                <a:solidFill>
                  <a:srgbClr val="EDEDED">
                    <a:lumMod val="50000"/>
                  </a:srgbClr>
                </a:solidFill>
                <a:effectLst/>
                <a:uLnTx/>
                <a:uFillTx/>
                <a:latin typeface="Ubuntu Light" panose="020B0304030602030204" pitchFamily="34" charset="0"/>
                <a:ea typeface="+mn-ea"/>
                <a:cs typeface="+mn-cs"/>
              </a:rPr>
              <a:t>WhatsNext Auto</a:t>
            </a:r>
          </a:p>
          <a:p>
            <a:pPr marL="171450" marR="0" lvl="0" indent="-171450" algn="l" defTabSz="914400" rtl="0" eaLnBrk="1" fontAlgn="auto" latinLnBrk="0" hangingPunct="1">
              <a:lnSpc>
                <a:spcPct val="100000"/>
              </a:lnSpc>
              <a:spcBef>
                <a:spcPts val="0"/>
              </a:spcBef>
              <a:spcAft>
                <a:spcPts val="0"/>
              </a:spcAft>
              <a:buClr>
                <a:srgbClr val="EDEDED">
                  <a:lumMod val="50000"/>
                </a:srgbClr>
              </a:buClr>
              <a:buSzTx/>
              <a:buFont typeface="Wingdings" panose="05000000000000000000" pitchFamily="2" charset="2"/>
              <a:buChar char="§"/>
              <a:tabLst/>
              <a:defRPr/>
            </a:pPr>
            <a:endParaRPr kumimoji="0" lang="es-ES" sz="1000" b="0" i="0" u="none" strike="noStrike" kern="1200" cap="none" spc="0" normalizeH="0" baseline="0" noProof="0" dirty="0">
              <a:ln>
                <a:noFill/>
              </a:ln>
              <a:solidFill>
                <a:srgbClr val="EDEDED">
                  <a:lumMod val="50000"/>
                </a:srgbClr>
              </a:solidFill>
              <a:effectLst/>
              <a:uLnTx/>
              <a:uFillTx/>
              <a:latin typeface="Ubuntu Light" panose="020B030403060203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
                <a:srgbClr val="EDEDED">
                  <a:lumMod val="50000"/>
                </a:srgbClr>
              </a:buClr>
              <a:buSzTx/>
              <a:buFont typeface="Wingdings" panose="05000000000000000000" pitchFamily="2" charset="2"/>
              <a:buChar char="§"/>
              <a:tabLst/>
              <a:defRPr/>
            </a:pPr>
            <a:endParaRPr kumimoji="0" lang="es-ES" sz="1000" b="0" i="0" u="none" strike="noStrike" kern="1200" cap="none" spc="0" normalizeH="0" baseline="0" noProof="0" dirty="0">
              <a:ln>
                <a:noFill/>
              </a:ln>
              <a:solidFill>
                <a:srgbClr val="EDEDED">
                  <a:lumMod val="50000"/>
                </a:srgbClr>
              </a:solidFill>
              <a:effectLst/>
              <a:uLnTx/>
              <a:uFillTx/>
              <a:latin typeface="Ubuntu Light" panose="020B030403060203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
                <a:srgbClr val="EDEDED">
                  <a:lumMod val="50000"/>
                </a:srgbClr>
              </a:buClr>
              <a:buSzTx/>
              <a:buFont typeface="Wingdings" panose="05000000000000000000" pitchFamily="2" charset="2"/>
              <a:buChar char="§"/>
              <a:tabLst/>
              <a:defRPr/>
            </a:pPr>
            <a:endParaRPr kumimoji="0" lang="es-ES" sz="1000" b="0" i="0" u="none" strike="noStrike" kern="1200" cap="none" spc="0" normalizeH="0" baseline="0" noProof="0" dirty="0">
              <a:ln>
                <a:noFill/>
              </a:ln>
              <a:solidFill>
                <a:srgbClr val="EDEDED">
                  <a:lumMod val="50000"/>
                </a:srgbClr>
              </a:solidFill>
              <a:effectLst/>
              <a:uLnTx/>
              <a:uFillTx/>
              <a:latin typeface="Ubuntu Light" panose="020B030403060203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
                <a:srgbClr val="EDEDED">
                  <a:lumMod val="50000"/>
                </a:srgbClr>
              </a:buClr>
              <a:buSzTx/>
              <a:buFont typeface="Wingdings" panose="05000000000000000000" pitchFamily="2" charset="2"/>
              <a:buChar char="§"/>
              <a:tabLst/>
              <a:defRPr/>
            </a:pPr>
            <a:endParaRPr kumimoji="0" lang="es-ES" sz="1000" b="0" i="0" u="none" strike="noStrike" kern="1200" cap="none" spc="0" normalizeH="0" baseline="0" noProof="0" dirty="0">
              <a:ln>
                <a:noFill/>
              </a:ln>
              <a:solidFill>
                <a:srgbClr val="EDEDED">
                  <a:lumMod val="50000"/>
                </a:srgbClr>
              </a:solidFill>
              <a:effectLst/>
              <a:uLnTx/>
              <a:uFillTx/>
              <a:latin typeface="Ubuntu Light" panose="020B0304030602030204" pitchFamily="34" charset="0"/>
              <a:ea typeface="+mn-ea"/>
              <a:cs typeface="+mn-cs"/>
            </a:endParaRPr>
          </a:p>
        </p:txBody>
      </p:sp>
      <p:sp>
        <p:nvSpPr>
          <p:cNvPr id="131" name="CuadroTexto 130">
            <a:extLst>
              <a:ext uri="{FF2B5EF4-FFF2-40B4-BE49-F238E27FC236}">
                <a16:creationId xmlns:a16="http://schemas.microsoft.com/office/drawing/2014/main" id="{8CBA1B2D-F9D8-4821-9006-B20C042C0FBE}"/>
              </a:ext>
            </a:extLst>
          </p:cNvPr>
          <p:cNvSpPr txBox="1"/>
          <p:nvPr/>
        </p:nvSpPr>
        <p:spPr>
          <a:xfrm>
            <a:off x="7084541" y="3193908"/>
            <a:ext cx="6484326"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EDEDED">
                  <a:lumMod val="50000"/>
                </a:srgbClr>
              </a:buClr>
              <a:buSzTx/>
              <a:buFontTx/>
              <a:buNone/>
              <a:tabLst/>
              <a:defRPr/>
            </a:pPr>
            <a:r>
              <a:rPr kumimoji="0" lang="es-ES" sz="1050" b="1" i="0" u="none" strike="noStrike" kern="1200" cap="none" spc="0" normalizeH="0" baseline="0" noProof="0" dirty="0">
                <a:ln>
                  <a:noFill/>
                </a:ln>
                <a:solidFill>
                  <a:srgbClr val="EDEDED">
                    <a:lumMod val="50000"/>
                  </a:srgbClr>
                </a:solidFill>
                <a:effectLst/>
                <a:uLnTx/>
                <a:uFillTx/>
                <a:latin typeface="Ubuntu Light" panose="020B0304030602030204" pitchFamily="34" charset="0"/>
                <a:ea typeface="+mn-ea"/>
                <a:cs typeface="+mn-cs"/>
              </a:rPr>
              <a:t>ONGOING ROADMAP</a:t>
            </a:r>
          </a:p>
        </p:txBody>
      </p:sp>
      <p:sp>
        <p:nvSpPr>
          <p:cNvPr id="137" name="CuadroTexto 136">
            <a:extLst>
              <a:ext uri="{FF2B5EF4-FFF2-40B4-BE49-F238E27FC236}">
                <a16:creationId xmlns:a16="http://schemas.microsoft.com/office/drawing/2014/main" id="{B1058602-E490-415E-97D4-77DF167D48C9}"/>
              </a:ext>
            </a:extLst>
          </p:cNvPr>
          <p:cNvSpPr txBox="1"/>
          <p:nvPr/>
        </p:nvSpPr>
        <p:spPr>
          <a:xfrm>
            <a:off x="5772684" y="5436967"/>
            <a:ext cx="1949741" cy="707886"/>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
                <a:srgbClr val="FF304C"/>
              </a:buClr>
              <a:buSzTx/>
              <a:buFont typeface="Wingdings" panose="05000000000000000000" pitchFamily="2" charset="2"/>
              <a:buChar char="§"/>
              <a:tabLst/>
              <a:defRPr/>
            </a:pPr>
            <a:r>
              <a:rPr kumimoji="0" lang="en-US" sz="1000" b="0" i="0" u="none" strike="noStrike" kern="1200" cap="none" spc="0" normalizeH="0" baseline="0" noProof="0" dirty="0">
                <a:ln>
                  <a:noFill/>
                </a:ln>
                <a:solidFill>
                  <a:prstClr val="white"/>
                </a:solidFill>
                <a:effectLst/>
                <a:uLnTx/>
                <a:uFillTx/>
                <a:latin typeface="Ubuntu Light" panose="020B0304030602030204" pitchFamily="34" charset="0"/>
                <a:ea typeface="+mn-ea"/>
                <a:cs typeface="+mn-cs"/>
              </a:rPr>
              <a:t>Business and technology Thinkubators for Minimum Lovable Product (MLP)</a:t>
            </a:r>
            <a:endParaRPr kumimoji="0" lang="es-ES" sz="1000" b="0" i="0" u="none" strike="noStrike" kern="1200" cap="none" spc="0" normalizeH="0" baseline="0" noProof="0" dirty="0">
              <a:ln>
                <a:noFill/>
              </a:ln>
              <a:solidFill>
                <a:prstClr val="white"/>
              </a:solidFill>
              <a:effectLst/>
              <a:uLnTx/>
              <a:uFillTx/>
              <a:latin typeface="Ubuntu Light" panose="020B030403060203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
                <a:srgbClr val="FF304C"/>
              </a:buClr>
              <a:buSzTx/>
              <a:buFont typeface="Wingdings" panose="05000000000000000000" pitchFamily="2" charset="2"/>
              <a:buChar char="§"/>
              <a:tabLst/>
              <a:defRPr/>
            </a:pPr>
            <a:endParaRPr kumimoji="0" lang="es-ES" sz="1000" b="0" i="0" u="none" strike="noStrike" kern="1200" cap="none" spc="0" normalizeH="0" baseline="0" noProof="0" dirty="0">
              <a:ln>
                <a:noFill/>
              </a:ln>
              <a:solidFill>
                <a:prstClr val="white"/>
              </a:solidFill>
              <a:effectLst/>
              <a:uLnTx/>
              <a:uFillTx/>
              <a:latin typeface="Ubuntu Light" panose="020B0304030602030204" pitchFamily="34" charset="0"/>
              <a:ea typeface="+mn-ea"/>
              <a:cs typeface="+mn-cs"/>
            </a:endParaRPr>
          </a:p>
        </p:txBody>
      </p:sp>
      <p:grpSp>
        <p:nvGrpSpPr>
          <p:cNvPr id="140" name="Grupo 139">
            <a:extLst>
              <a:ext uri="{FF2B5EF4-FFF2-40B4-BE49-F238E27FC236}">
                <a16:creationId xmlns:a16="http://schemas.microsoft.com/office/drawing/2014/main" id="{3AB6FADC-84AD-46B3-B5E3-8D9F4B760DE3}"/>
              </a:ext>
            </a:extLst>
          </p:cNvPr>
          <p:cNvGrpSpPr/>
          <p:nvPr/>
        </p:nvGrpSpPr>
        <p:grpSpPr>
          <a:xfrm>
            <a:off x="10758754" y="2533049"/>
            <a:ext cx="947860" cy="281352"/>
            <a:chOff x="10524410" y="3406607"/>
            <a:chExt cx="1576275" cy="467884"/>
          </a:xfrm>
        </p:grpSpPr>
        <p:sp>
          <p:nvSpPr>
            <p:cNvPr id="138" name="Elipse 137">
              <a:extLst>
                <a:ext uri="{FF2B5EF4-FFF2-40B4-BE49-F238E27FC236}">
                  <a16:creationId xmlns:a16="http://schemas.microsoft.com/office/drawing/2014/main" id="{9A06653A-F8F0-4F19-9C4C-C02C76084F6C}"/>
                </a:ext>
              </a:extLst>
            </p:cNvPr>
            <p:cNvSpPr/>
            <p:nvPr/>
          </p:nvSpPr>
          <p:spPr>
            <a:xfrm rot="12483488">
              <a:off x="10524410" y="3406607"/>
              <a:ext cx="502960" cy="167314"/>
            </a:xfrm>
            <a:prstGeom prst="ellipse">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Verdana"/>
                <a:ea typeface="+mn-ea"/>
                <a:cs typeface="+mn-cs"/>
              </a:endParaRPr>
            </a:p>
          </p:txBody>
        </p:sp>
        <p:pic>
          <p:nvPicPr>
            <p:cNvPr id="139" name="Imagen 120" descr="Imagen 120">
              <a:extLst>
                <a:ext uri="{FF2B5EF4-FFF2-40B4-BE49-F238E27FC236}">
                  <a16:creationId xmlns:a16="http://schemas.microsoft.com/office/drawing/2014/main" id="{3E526063-CCCF-4C32-B92B-285A2FC502D6}"/>
                </a:ext>
              </a:extLst>
            </p:cNvPr>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10949244" y="3490265"/>
              <a:ext cx="1151441" cy="384226"/>
            </a:xfrm>
            <a:prstGeom prst="rect">
              <a:avLst/>
            </a:prstGeom>
            <a:ln w="12700">
              <a:miter lim="400000"/>
            </a:ln>
          </p:spPr>
        </p:pic>
      </p:grpSp>
      <p:pic>
        <p:nvPicPr>
          <p:cNvPr id="4" name="Imagen 3" descr="Interfaz de usuario gráfica&#10;&#10;Descripción generada automáticamente">
            <a:extLst>
              <a:ext uri="{FF2B5EF4-FFF2-40B4-BE49-F238E27FC236}">
                <a16:creationId xmlns:a16="http://schemas.microsoft.com/office/drawing/2014/main" id="{89C3077C-51FD-4575-AB12-88433ACDE2CD}"/>
              </a:ext>
            </a:extLst>
          </p:cNvPr>
          <p:cNvPicPr>
            <a:picLocks noChangeAspect="1"/>
          </p:cNvPicPr>
          <p:nvPr/>
        </p:nvPicPr>
        <p:blipFill>
          <a:blip r:embed="rId13"/>
          <a:stretch>
            <a:fillRect/>
          </a:stretch>
        </p:blipFill>
        <p:spPr>
          <a:xfrm>
            <a:off x="7933995" y="665032"/>
            <a:ext cx="715846" cy="340146"/>
          </a:xfrm>
          <a:prstGeom prst="rect">
            <a:avLst/>
          </a:prstGeom>
          <a:ln>
            <a:noFill/>
          </a:ln>
          <a:effectLst>
            <a:outerShdw blurRad="292100" dist="139700" dir="2700000" algn="tl" rotWithShape="0">
              <a:srgbClr val="333333">
                <a:alpha val="65000"/>
              </a:srgbClr>
            </a:outerShdw>
          </a:effectLst>
        </p:spPr>
      </p:pic>
      <p:pic>
        <p:nvPicPr>
          <p:cNvPr id="7" name="Imagen 6" descr="Imagen que contiene firmar, señal, parada, parado&#10;&#10;Descripción generada automáticamente">
            <a:extLst>
              <a:ext uri="{FF2B5EF4-FFF2-40B4-BE49-F238E27FC236}">
                <a16:creationId xmlns:a16="http://schemas.microsoft.com/office/drawing/2014/main" id="{613C0F3E-AD72-4CD1-8312-5B4ABFF2CD56}"/>
              </a:ext>
            </a:extLst>
          </p:cNvPr>
          <p:cNvPicPr>
            <a:picLocks noChangeAspect="1"/>
          </p:cNvPicPr>
          <p:nvPr/>
        </p:nvPicPr>
        <p:blipFill>
          <a:blip r:embed="rId14"/>
          <a:stretch>
            <a:fillRect/>
          </a:stretch>
        </p:blipFill>
        <p:spPr>
          <a:xfrm>
            <a:off x="7937380" y="1097614"/>
            <a:ext cx="715848" cy="340146"/>
          </a:xfrm>
          <a:prstGeom prst="rect">
            <a:avLst/>
          </a:prstGeom>
          <a:ln>
            <a:noFill/>
          </a:ln>
          <a:effectLst>
            <a:outerShdw blurRad="292100" dist="139700" dir="2700000" algn="tl" rotWithShape="0">
              <a:srgbClr val="333333">
                <a:alpha val="65000"/>
              </a:srgbClr>
            </a:outerShdw>
          </a:effectLst>
        </p:spPr>
      </p:pic>
      <p:pic>
        <p:nvPicPr>
          <p:cNvPr id="9" name="Imagen 8" descr="Imagen que contiene señal, dibujo, tabla, firmar&#10;&#10;Descripción generada automáticamente">
            <a:extLst>
              <a:ext uri="{FF2B5EF4-FFF2-40B4-BE49-F238E27FC236}">
                <a16:creationId xmlns:a16="http://schemas.microsoft.com/office/drawing/2014/main" id="{FF8726DF-A246-47F4-98FA-9B136759DDE7}"/>
              </a:ext>
            </a:extLst>
          </p:cNvPr>
          <p:cNvPicPr>
            <a:picLocks noChangeAspect="1"/>
          </p:cNvPicPr>
          <p:nvPr/>
        </p:nvPicPr>
        <p:blipFill>
          <a:blip r:embed="rId15"/>
          <a:stretch>
            <a:fillRect/>
          </a:stretch>
        </p:blipFill>
        <p:spPr>
          <a:xfrm>
            <a:off x="7949188" y="1559096"/>
            <a:ext cx="715846" cy="340146"/>
          </a:xfrm>
          <a:prstGeom prst="rect">
            <a:avLst/>
          </a:prstGeom>
          <a:ln>
            <a:noFill/>
          </a:ln>
          <a:effectLst>
            <a:outerShdw blurRad="292100" dist="139700" dir="2700000" algn="tl" rotWithShape="0">
              <a:srgbClr val="333333">
                <a:alpha val="65000"/>
              </a:srgbClr>
            </a:outerShdw>
          </a:effectLst>
        </p:spPr>
      </p:pic>
      <p:pic>
        <p:nvPicPr>
          <p:cNvPr id="11" name="Imagen 10" descr="Icono&#10;&#10;Descripción generada automáticamente">
            <a:extLst>
              <a:ext uri="{FF2B5EF4-FFF2-40B4-BE49-F238E27FC236}">
                <a16:creationId xmlns:a16="http://schemas.microsoft.com/office/drawing/2014/main" id="{C5CB1BCA-60AC-45C1-9816-09CD4D5B6F83}"/>
              </a:ext>
            </a:extLst>
          </p:cNvPr>
          <p:cNvPicPr>
            <a:picLocks noChangeAspect="1"/>
          </p:cNvPicPr>
          <p:nvPr/>
        </p:nvPicPr>
        <p:blipFill>
          <a:blip r:embed="rId16"/>
          <a:stretch>
            <a:fillRect/>
          </a:stretch>
        </p:blipFill>
        <p:spPr>
          <a:xfrm>
            <a:off x="7948864" y="249504"/>
            <a:ext cx="700977" cy="333080"/>
          </a:xfrm>
          <a:prstGeom prst="rect">
            <a:avLst/>
          </a:prstGeom>
          <a:ln>
            <a:noFill/>
          </a:ln>
          <a:effectLst>
            <a:outerShdw blurRad="292100" dist="139700" dir="2700000" algn="tl" rotWithShape="0">
              <a:srgbClr val="333333">
                <a:alpha val="65000"/>
              </a:srgbClr>
            </a:outerShdw>
          </a:effectLst>
        </p:spPr>
      </p:pic>
      <p:pic>
        <p:nvPicPr>
          <p:cNvPr id="13" name="Imagen 12" descr="Interfaz de usuario gráfica, Aplicación&#10;&#10;Descripción generada automáticamente con confianza media">
            <a:extLst>
              <a:ext uri="{FF2B5EF4-FFF2-40B4-BE49-F238E27FC236}">
                <a16:creationId xmlns:a16="http://schemas.microsoft.com/office/drawing/2014/main" id="{78CB6238-C4BA-4C8E-BEE3-62BE54F06971}"/>
              </a:ext>
            </a:extLst>
          </p:cNvPr>
          <p:cNvPicPr>
            <a:picLocks noChangeAspect="1"/>
          </p:cNvPicPr>
          <p:nvPr/>
        </p:nvPicPr>
        <p:blipFill>
          <a:blip r:embed="rId17"/>
          <a:stretch>
            <a:fillRect/>
          </a:stretch>
        </p:blipFill>
        <p:spPr>
          <a:xfrm>
            <a:off x="7949189" y="2008930"/>
            <a:ext cx="715846" cy="340145"/>
          </a:xfrm>
          <a:prstGeom prst="rect">
            <a:avLst/>
          </a:prstGeom>
          <a:ln>
            <a:noFill/>
          </a:ln>
          <a:effectLst>
            <a:outerShdw blurRad="292100" dist="139700" dir="2700000" algn="tl" rotWithShape="0">
              <a:srgbClr val="333333">
                <a:alpha val="65000"/>
              </a:srgbClr>
            </a:outerShdw>
          </a:effectLst>
        </p:spPr>
      </p:pic>
      <p:pic>
        <p:nvPicPr>
          <p:cNvPr id="20" name="Imagen 19" descr="Imagen que contiene Interfaz de usuario gráfica&#10;&#10;Descripción generada automáticamente">
            <a:extLst>
              <a:ext uri="{FF2B5EF4-FFF2-40B4-BE49-F238E27FC236}">
                <a16:creationId xmlns:a16="http://schemas.microsoft.com/office/drawing/2014/main" id="{B687C05C-4FDA-4D0A-8AC5-966FB2C57A9F}"/>
              </a:ext>
            </a:extLst>
          </p:cNvPr>
          <p:cNvPicPr>
            <a:picLocks noChangeAspect="1"/>
          </p:cNvPicPr>
          <p:nvPr/>
        </p:nvPicPr>
        <p:blipFill>
          <a:blip r:embed="rId18"/>
          <a:stretch>
            <a:fillRect/>
          </a:stretch>
        </p:blipFill>
        <p:spPr>
          <a:xfrm>
            <a:off x="1206254" y="2551439"/>
            <a:ext cx="716612" cy="340509"/>
          </a:xfrm>
          <a:prstGeom prst="rect">
            <a:avLst/>
          </a:prstGeom>
          <a:ln>
            <a:noFill/>
          </a:ln>
          <a:effectLst>
            <a:outerShdw blurRad="292100" dist="139700" dir="2700000" algn="tl" rotWithShape="0">
              <a:srgbClr val="333333">
                <a:alpha val="65000"/>
              </a:srgbClr>
            </a:outerShdw>
          </a:effectLst>
        </p:spPr>
      </p:pic>
      <p:pic>
        <p:nvPicPr>
          <p:cNvPr id="22" name="Imagen 21" descr="Interfaz de usuario gráfica, Sitio web&#10;&#10;Descripción generada automáticamente">
            <a:extLst>
              <a:ext uri="{FF2B5EF4-FFF2-40B4-BE49-F238E27FC236}">
                <a16:creationId xmlns:a16="http://schemas.microsoft.com/office/drawing/2014/main" id="{B6AC5BB3-ED09-436A-B7A1-C29E14606A5E}"/>
              </a:ext>
            </a:extLst>
          </p:cNvPr>
          <p:cNvPicPr>
            <a:picLocks noChangeAspect="1"/>
          </p:cNvPicPr>
          <p:nvPr/>
        </p:nvPicPr>
        <p:blipFill>
          <a:blip r:embed="rId19"/>
          <a:stretch>
            <a:fillRect/>
          </a:stretch>
        </p:blipFill>
        <p:spPr>
          <a:xfrm>
            <a:off x="427284" y="2550252"/>
            <a:ext cx="716612" cy="341696"/>
          </a:xfrm>
          <a:prstGeom prst="rect">
            <a:avLst/>
          </a:prstGeom>
          <a:ln>
            <a:noFill/>
          </a:ln>
          <a:effectLst>
            <a:outerShdw blurRad="292100" dist="139700" dir="2700000" algn="tl" rotWithShape="0">
              <a:srgbClr val="333333">
                <a:alpha val="65000"/>
              </a:srgbClr>
            </a:outerShdw>
          </a:effectLst>
        </p:spPr>
      </p:pic>
      <p:pic>
        <p:nvPicPr>
          <p:cNvPr id="97" name="Imagen 96" descr="Interfaz de usuario gráfica&#10;&#10;Descripción generada automáticamente">
            <a:extLst>
              <a:ext uri="{FF2B5EF4-FFF2-40B4-BE49-F238E27FC236}">
                <a16:creationId xmlns:a16="http://schemas.microsoft.com/office/drawing/2014/main" id="{846DA09A-61E8-4C64-B951-809C992C1522}"/>
              </a:ext>
            </a:extLst>
          </p:cNvPr>
          <p:cNvPicPr>
            <a:picLocks noChangeAspect="1"/>
          </p:cNvPicPr>
          <p:nvPr/>
        </p:nvPicPr>
        <p:blipFill>
          <a:blip r:embed="rId20"/>
          <a:stretch>
            <a:fillRect/>
          </a:stretch>
        </p:blipFill>
        <p:spPr>
          <a:xfrm>
            <a:off x="5988275" y="5988232"/>
            <a:ext cx="1529972" cy="726990"/>
          </a:xfrm>
          <a:prstGeom prst="rect">
            <a:avLst/>
          </a:prstGeom>
          <a:ln>
            <a:noFill/>
          </a:ln>
          <a:effectLst>
            <a:outerShdw blurRad="292100" dist="139700" dir="2700000" algn="tl" rotWithShape="0">
              <a:srgbClr val="333333">
                <a:alpha val="65000"/>
              </a:srgbClr>
            </a:outerShdw>
          </a:effectLst>
        </p:spPr>
      </p:pic>
      <p:pic>
        <p:nvPicPr>
          <p:cNvPr id="99" name="Imagen 98" descr="Interfaz de usuario gráfica&#10;&#10;Descripción generada automáticamente">
            <a:extLst>
              <a:ext uri="{FF2B5EF4-FFF2-40B4-BE49-F238E27FC236}">
                <a16:creationId xmlns:a16="http://schemas.microsoft.com/office/drawing/2014/main" id="{AF5D1232-50E1-42D0-8AE1-81947B3F79C2}"/>
              </a:ext>
            </a:extLst>
          </p:cNvPr>
          <p:cNvPicPr>
            <a:picLocks noChangeAspect="1"/>
          </p:cNvPicPr>
          <p:nvPr/>
        </p:nvPicPr>
        <p:blipFill>
          <a:blip r:embed="rId21"/>
          <a:stretch>
            <a:fillRect/>
          </a:stretch>
        </p:blipFill>
        <p:spPr>
          <a:xfrm>
            <a:off x="1975352" y="2554757"/>
            <a:ext cx="716612" cy="340509"/>
          </a:xfrm>
          <a:prstGeom prst="rect">
            <a:avLst/>
          </a:prstGeom>
          <a:ln>
            <a:noFill/>
          </a:ln>
          <a:effectLst>
            <a:outerShdw blurRad="292100" dist="139700" dir="2700000" algn="tl" rotWithShape="0">
              <a:srgbClr val="333333">
                <a:alpha val="65000"/>
              </a:srgbClr>
            </a:outerShdw>
          </a:effectLst>
        </p:spPr>
      </p:pic>
      <p:pic>
        <p:nvPicPr>
          <p:cNvPr id="112" name="Imagen 111" descr="Imagen que contiene Logotipo&#10;&#10;Descripción generada automáticamente">
            <a:extLst>
              <a:ext uri="{FF2B5EF4-FFF2-40B4-BE49-F238E27FC236}">
                <a16:creationId xmlns:a16="http://schemas.microsoft.com/office/drawing/2014/main" id="{7E3C4FB1-6C04-4E08-94DC-3B581DAED97E}"/>
              </a:ext>
            </a:extLst>
          </p:cNvPr>
          <p:cNvPicPr>
            <a:picLocks noChangeAspect="1"/>
          </p:cNvPicPr>
          <p:nvPr/>
        </p:nvPicPr>
        <p:blipFill>
          <a:blip r:embed="rId22"/>
          <a:stretch>
            <a:fillRect/>
          </a:stretch>
        </p:blipFill>
        <p:spPr>
          <a:xfrm>
            <a:off x="7956601" y="2457300"/>
            <a:ext cx="715847" cy="340146"/>
          </a:xfrm>
          <a:prstGeom prst="rect">
            <a:avLst/>
          </a:prstGeom>
        </p:spPr>
      </p:pic>
    </p:spTree>
    <p:extLst>
      <p:ext uri="{BB962C8B-B14F-4D97-AF65-F5344CB8AC3E}">
        <p14:creationId xmlns:p14="http://schemas.microsoft.com/office/powerpoint/2010/main" val="1312641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750"/>
                                  </p:stCondLst>
                                  <p:childTnLst>
                                    <p:set>
                                      <p:cBhvr>
                                        <p:cTn id="6" dur="1" fill="hold">
                                          <p:stCondLst>
                                            <p:cond delay="0"/>
                                          </p:stCondLst>
                                        </p:cTn>
                                        <p:tgtEl>
                                          <p:spTgt spid="95"/>
                                        </p:tgtEl>
                                        <p:attrNameLst>
                                          <p:attrName>style.visibility</p:attrName>
                                        </p:attrNameLst>
                                      </p:cBhvr>
                                      <p:to>
                                        <p:strVal val="visible"/>
                                      </p:to>
                                    </p:set>
                                    <p:animEffect transition="in" filter="fade">
                                      <p:cBhvr>
                                        <p:cTn id="7" dur="500"/>
                                        <p:tgtEl>
                                          <p:spTgt spid="95"/>
                                        </p:tgtEl>
                                      </p:cBhvr>
                                    </p:animEffect>
                                  </p:childTnLst>
                                </p:cTn>
                              </p:par>
                              <p:par>
                                <p:cTn id="8" presetID="10" presetClass="entr" presetSubtype="0" fill="hold" grpId="0" nodeType="withEffect">
                                  <p:stCondLst>
                                    <p:cond delay="1750"/>
                                  </p:stCondLst>
                                  <p:childTnLst>
                                    <p:set>
                                      <p:cBhvr>
                                        <p:cTn id="9" dur="1" fill="hold">
                                          <p:stCondLst>
                                            <p:cond delay="0"/>
                                          </p:stCondLst>
                                        </p:cTn>
                                        <p:tgtEl>
                                          <p:spTgt spid="94"/>
                                        </p:tgtEl>
                                        <p:attrNameLst>
                                          <p:attrName>style.visibility</p:attrName>
                                        </p:attrNameLst>
                                      </p:cBhvr>
                                      <p:to>
                                        <p:strVal val="visible"/>
                                      </p:to>
                                    </p:set>
                                    <p:animEffect transition="in" filter="fade">
                                      <p:cBhvr>
                                        <p:cTn id="10" dur="2000"/>
                                        <p:tgtEl>
                                          <p:spTgt spid="94"/>
                                        </p:tgtEl>
                                      </p:cBhvr>
                                    </p:animEffect>
                                  </p:childTnLst>
                                </p:cTn>
                              </p:par>
                              <p:par>
                                <p:cTn id="11" presetID="10" presetClass="entr" presetSubtype="0" fill="hold" nodeType="withEffect">
                                  <p:stCondLst>
                                    <p:cond delay="0"/>
                                  </p:stCondLst>
                                  <p:childTnLst>
                                    <p:set>
                                      <p:cBhvr>
                                        <p:cTn id="12" dur="1" fill="hold">
                                          <p:stCondLst>
                                            <p:cond delay="0"/>
                                          </p:stCondLst>
                                        </p:cTn>
                                        <p:tgtEl>
                                          <p:spTgt spid="104"/>
                                        </p:tgtEl>
                                        <p:attrNameLst>
                                          <p:attrName>style.visibility</p:attrName>
                                        </p:attrNameLst>
                                      </p:cBhvr>
                                      <p:to>
                                        <p:strVal val="visible"/>
                                      </p:to>
                                    </p:set>
                                    <p:animEffect transition="in" filter="fade">
                                      <p:cBhvr>
                                        <p:cTn id="13" dur="500"/>
                                        <p:tgtEl>
                                          <p:spTgt spid="10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 grpId="0" animBg="1"/>
      <p:bldP spid="9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192D1560-9B15-4E7F-8205-B56CE385A406}"/>
              </a:ext>
            </a:extLst>
          </p:cNvPr>
          <p:cNvSpPr/>
          <p:nvPr/>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Verdana"/>
              <a:ea typeface="+mn-ea"/>
              <a:cs typeface="+mn-cs"/>
            </a:endParaRPr>
          </a:p>
        </p:txBody>
      </p:sp>
      <p:pic>
        <p:nvPicPr>
          <p:cNvPr id="15" name="Imagen 14" descr="Imagen en blanco y negro&#10;&#10;Descripción generada automáticamente con confianza baja">
            <a:extLst>
              <a:ext uri="{FF2B5EF4-FFF2-40B4-BE49-F238E27FC236}">
                <a16:creationId xmlns:a16="http://schemas.microsoft.com/office/drawing/2014/main" id="{3B6E2F92-18FA-4273-8B63-1041C628B5D8}"/>
              </a:ext>
            </a:extLst>
          </p:cNvPr>
          <p:cNvPicPr>
            <a:picLocks noChangeAspect="1"/>
          </p:cNvPicPr>
          <p:nvPr/>
        </p:nvPicPr>
        <p:blipFill rotWithShape="1">
          <a:blip r:embed="rId3"/>
          <a:srcRect t="26633" r="21015" b="44025"/>
          <a:stretch/>
        </p:blipFill>
        <p:spPr>
          <a:xfrm>
            <a:off x="4090020" y="3829050"/>
            <a:ext cx="8153400" cy="3028950"/>
          </a:xfrm>
          <a:prstGeom prst="rect">
            <a:avLst/>
          </a:prstGeom>
        </p:spPr>
      </p:pic>
      <p:sp>
        <p:nvSpPr>
          <p:cNvPr id="16" name="Rectángulo 15">
            <a:extLst>
              <a:ext uri="{FF2B5EF4-FFF2-40B4-BE49-F238E27FC236}">
                <a16:creationId xmlns:a16="http://schemas.microsoft.com/office/drawing/2014/main" id="{FF82B2F6-D0E6-4DBD-8DA9-5BB7B913146A}"/>
              </a:ext>
            </a:extLst>
          </p:cNvPr>
          <p:cNvSpPr/>
          <p:nvPr/>
        </p:nvSpPr>
        <p:spPr>
          <a:xfrm>
            <a:off x="11026186" y="6145414"/>
            <a:ext cx="992579" cy="552139"/>
          </a:xfrm>
          <a:prstGeom prst="rect">
            <a:avLst/>
          </a:prstGeom>
        </p:spPr>
        <p:txBody>
          <a:bodyPr wrap="square">
            <a:spAutoFit/>
          </a:bodyPr>
          <a:lstStyle/>
          <a:p>
            <a:pPr>
              <a:lnSpc>
                <a:spcPts val="4400"/>
              </a:lnSpc>
            </a:pPr>
            <a:r>
              <a:rPr lang="en-US" sz="1400" dirty="0">
                <a:latin typeface="Ubuntu Mono" panose="020B0509030602030204" pitchFamily="49" charset="0"/>
              </a:rPr>
              <a:t>sogeti.es</a:t>
            </a:r>
            <a:endParaRPr lang="en-GB" sz="1400" dirty="0">
              <a:latin typeface="Ubuntu Mono" panose="020B0509030602030204" pitchFamily="49" charset="0"/>
            </a:endParaRPr>
          </a:p>
        </p:txBody>
      </p:sp>
      <p:pic>
        <p:nvPicPr>
          <p:cNvPr id="17" name="Imagen 16" descr="Imagen que contiene dibujo&#10;&#10;Descripción generada automáticamente">
            <a:extLst>
              <a:ext uri="{FF2B5EF4-FFF2-40B4-BE49-F238E27FC236}">
                <a16:creationId xmlns:a16="http://schemas.microsoft.com/office/drawing/2014/main" id="{1EC7F69E-C149-4437-90F8-34B0B5439DDD}"/>
              </a:ext>
            </a:extLst>
          </p:cNvPr>
          <p:cNvPicPr>
            <a:picLocks noChangeAspect="1"/>
          </p:cNvPicPr>
          <p:nvPr/>
        </p:nvPicPr>
        <p:blipFill>
          <a:blip r:embed="rId4"/>
          <a:stretch>
            <a:fillRect/>
          </a:stretch>
        </p:blipFill>
        <p:spPr>
          <a:xfrm>
            <a:off x="11057936" y="6151764"/>
            <a:ext cx="827094" cy="342607"/>
          </a:xfrm>
          <a:prstGeom prst="rect">
            <a:avLst/>
          </a:prstGeom>
        </p:spPr>
      </p:pic>
      <p:sp>
        <p:nvSpPr>
          <p:cNvPr id="18" name="Rectángulo 17">
            <a:extLst>
              <a:ext uri="{FF2B5EF4-FFF2-40B4-BE49-F238E27FC236}">
                <a16:creationId xmlns:a16="http://schemas.microsoft.com/office/drawing/2014/main" id="{7D324127-CE8D-4DDA-8F35-529E6A66B2B8}"/>
              </a:ext>
            </a:extLst>
          </p:cNvPr>
          <p:cNvSpPr/>
          <p:nvPr/>
        </p:nvSpPr>
        <p:spPr>
          <a:xfrm>
            <a:off x="7506449" y="5607157"/>
            <a:ext cx="2266198" cy="461665"/>
          </a:xfrm>
          <a:prstGeom prst="rect">
            <a:avLst/>
          </a:prstGeom>
          <a:noFill/>
        </p:spPr>
        <p:txBody>
          <a:bodyPr wrap="none" lIns="91440" tIns="45720" rIns="91440" bIns="45720">
            <a:spAutoFit/>
            <a:scene3d>
              <a:camera prst="isometricTopUp"/>
              <a:lightRig rig="threePt" dir="t"/>
            </a:scene3d>
          </a:bodyPr>
          <a:lstStyle/>
          <a:p>
            <a:pPr algn="ctr"/>
            <a:r>
              <a:rPr lang="es-ES" sz="2400" b="0" cap="none" spc="0" dirty="0">
                <a:ln w="0"/>
                <a:latin typeface="Ubuntu Mono" panose="020B0509030602030204" pitchFamily="49" charset="0"/>
              </a:rPr>
              <a:t>THINKUBATOR</a:t>
            </a:r>
          </a:p>
        </p:txBody>
      </p:sp>
      <p:sp>
        <p:nvSpPr>
          <p:cNvPr id="19" name="Rectángulo 18">
            <a:extLst>
              <a:ext uri="{FF2B5EF4-FFF2-40B4-BE49-F238E27FC236}">
                <a16:creationId xmlns:a16="http://schemas.microsoft.com/office/drawing/2014/main" id="{48D0A152-48D1-49C9-9822-6014BF1E3FD3}"/>
              </a:ext>
            </a:extLst>
          </p:cNvPr>
          <p:cNvSpPr/>
          <p:nvPr/>
        </p:nvSpPr>
        <p:spPr>
          <a:xfrm>
            <a:off x="9738735" y="5555875"/>
            <a:ext cx="1732748" cy="338554"/>
          </a:xfrm>
          <a:prstGeom prst="rect">
            <a:avLst/>
          </a:prstGeom>
          <a:noFill/>
        </p:spPr>
        <p:txBody>
          <a:bodyPr wrap="square" lIns="91440" tIns="45720" rIns="91440" bIns="45720">
            <a:spAutoFit/>
            <a:scene3d>
              <a:camera prst="isometricTopUp"/>
              <a:lightRig rig="threePt" dir="t"/>
            </a:scene3d>
          </a:bodyPr>
          <a:lstStyle/>
          <a:p>
            <a:pPr algn="ctr"/>
            <a:r>
              <a:rPr lang="es-ES" sz="1600" b="0" cap="none" spc="0" dirty="0">
                <a:ln w="0"/>
                <a:latin typeface="Ubuntu" panose="020B0504030602030204" pitchFamily="34" charset="0"/>
              </a:rPr>
              <a:t>SOGETI SPAIN</a:t>
            </a:r>
          </a:p>
        </p:txBody>
      </p:sp>
      <p:sp>
        <p:nvSpPr>
          <p:cNvPr id="2" name="CuadroTexto 1">
            <a:extLst>
              <a:ext uri="{FF2B5EF4-FFF2-40B4-BE49-F238E27FC236}">
                <a16:creationId xmlns:a16="http://schemas.microsoft.com/office/drawing/2014/main" id="{5317A3B0-13E9-47AF-8711-323BB0DD43AC}"/>
              </a:ext>
            </a:extLst>
          </p:cNvPr>
          <p:cNvSpPr txBox="1"/>
          <p:nvPr/>
        </p:nvSpPr>
        <p:spPr>
          <a:xfrm>
            <a:off x="4756665" y="3594549"/>
            <a:ext cx="8693150" cy="1569660"/>
          </a:xfrm>
          <a:prstGeom prst="rect">
            <a:avLst/>
          </a:prstGeom>
          <a:noFill/>
          <a:scene3d>
            <a:camera prst="isometricTopUp"/>
            <a:lightRig rig="threePt" dir="t"/>
          </a:scene3d>
        </p:spPr>
        <p:txBody>
          <a:bodyPr wrap="square" rtlCol="0">
            <a:spAutoFit/>
          </a:bodyPr>
          <a:lstStyle/>
          <a:p>
            <a:r>
              <a:rPr lang="es-ES" sz="9600" b="1" dirty="0">
                <a:latin typeface="Ubuntu" panose="020B0504030602030204" pitchFamily="34" charset="0"/>
              </a:rPr>
              <a:t>Soluciones</a:t>
            </a:r>
            <a:r>
              <a:rPr lang="es-ES" sz="9600" b="1" dirty="0">
                <a:solidFill>
                  <a:schemeClr val="accent4"/>
                </a:solidFill>
                <a:latin typeface="Ubuntu" panose="020B0504030602030204" pitchFamily="34" charset="0"/>
              </a:rPr>
              <a:t>.</a:t>
            </a:r>
          </a:p>
        </p:txBody>
      </p:sp>
      <p:sp>
        <p:nvSpPr>
          <p:cNvPr id="9" name="Freeform 16">
            <a:extLst>
              <a:ext uri="{FF2B5EF4-FFF2-40B4-BE49-F238E27FC236}">
                <a16:creationId xmlns:a16="http://schemas.microsoft.com/office/drawing/2014/main" id="{CFFE01FC-4846-452A-B694-8DCB0D5ADF4C}"/>
              </a:ext>
            </a:extLst>
          </p:cNvPr>
          <p:cNvSpPr/>
          <p:nvPr/>
        </p:nvSpPr>
        <p:spPr>
          <a:xfrm>
            <a:off x="-22986" y="0"/>
            <a:ext cx="4971867" cy="68580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5" name="Imagen 4" descr="Icono&#10;&#10;Descripción generada automáticamente">
            <a:extLst>
              <a:ext uri="{FF2B5EF4-FFF2-40B4-BE49-F238E27FC236}">
                <a16:creationId xmlns:a16="http://schemas.microsoft.com/office/drawing/2014/main" id="{1155E70F-B017-478E-9C9E-ACBCD7C9AD72}"/>
              </a:ext>
            </a:extLst>
          </p:cNvPr>
          <p:cNvPicPr>
            <a:picLocks noChangeAspect="1"/>
          </p:cNvPicPr>
          <p:nvPr/>
        </p:nvPicPr>
        <p:blipFill>
          <a:blip r:embed="rId5"/>
          <a:stretch>
            <a:fillRect/>
          </a:stretch>
        </p:blipFill>
        <p:spPr>
          <a:xfrm>
            <a:off x="2023962" y="555559"/>
            <a:ext cx="5592221" cy="5589855"/>
          </a:xfrm>
          <a:prstGeom prst="rect">
            <a:avLst/>
          </a:prstGeom>
        </p:spPr>
      </p:pic>
      <p:sp>
        <p:nvSpPr>
          <p:cNvPr id="12" name="CuadroTexto 11">
            <a:extLst>
              <a:ext uri="{FF2B5EF4-FFF2-40B4-BE49-F238E27FC236}">
                <a16:creationId xmlns:a16="http://schemas.microsoft.com/office/drawing/2014/main" id="{E583A63E-3F56-4E3C-A03D-BE646FDB2058}"/>
              </a:ext>
            </a:extLst>
          </p:cNvPr>
          <p:cNvSpPr txBox="1"/>
          <p:nvPr/>
        </p:nvSpPr>
        <p:spPr>
          <a:xfrm>
            <a:off x="490669" y="3253941"/>
            <a:ext cx="8232774" cy="307777"/>
          </a:xfrm>
          <a:prstGeom prst="rect">
            <a:avLst/>
          </a:prstGeom>
          <a:noFill/>
        </p:spPr>
        <p:txBody>
          <a:bodyPr wrap="square">
            <a:spAutoFit/>
          </a:bodyPr>
          <a:lstStyle/>
          <a:p>
            <a:r>
              <a:rPr lang="es-ES" sz="1400" dirty="0">
                <a:solidFill>
                  <a:schemeClr val="accent4"/>
                </a:solidFill>
                <a:latin typeface="Ubuntu" panose="020B0504030602030204" pitchFamily="34" charset="0"/>
              </a:rPr>
              <a:t>#</a:t>
            </a:r>
            <a:r>
              <a:rPr lang="es-ES" sz="1400" dirty="0">
                <a:solidFill>
                  <a:schemeClr val="accent2"/>
                </a:solidFill>
                <a:latin typeface="Ubuntu" panose="020B0504030602030204" pitchFamily="34" charset="0"/>
              </a:rPr>
              <a:t>AccelerateWithSogeti</a:t>
            </a:r>
          </a:p>
        </p:txBody>
      </p:sp>
      <p:pic>
        <p:nvPicPr>
          <p:cNvPr id="4" name="Picture 2">
            <a:extLst>
              <a:ext uri="{FF2B5EF4-FFF2-40B4-BE49-F238E27FC236}">
                <a16:creationId xmlns:a16="http://schemas.microsoft.com/office/drawing/2014/main" id="{E87C833E-BFB2-4C90-8F64-B64570E934E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7527" y="2383474"/>
            <a:ext cx="870467" cy="8704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649434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Freeform 11">
            <a:extLst>
              <a:ext uri="{FF2B5EF4-FFF2-40B4-BE49-F238E27FC236}">
                <a16:creationId xmlns:a16="http://schemas.microsoft.com/office/drawing/2014/main" id="{989FAB72-E17B-0D41-A6AE-3BB44413317B}"/>
              </a:ext>
            </a:extLst>
          </p:cNvPr>
          <p:cNvSpPr/>
          <p:nvPr/>
        </p:nvSpPr>
        <p:spPr>
          <a:xfrm>
            <a:off x="0" y="3737056"/>
            <a:ext cx="8520984" cy="3132047"/>
          </a:xfrm>
          <a:custGeom>
            <a:avLst/>
            <a:gdLst>
              <a:gd name="connsiteX0" fmla="*/ 4395998 w 7237505"/>
              <a:gd name="connsiteY0" fmla="*/ 58 h 4933262"/>
              <a:gd name="connsiteX1" fmla="*/ 7233138 w 7237505"/>
              <a:gd name="connsiteY1" fmla="*/ 4903565 h 4933262"/>
              <a:gd name="connsiteX2" fmla="*/ 7237505 w 7237505"/>
              <a:gd name="connsiteY2" fmla="*/ 4933262 h 4933262"/>
              <a:gd name="connsiteX3" fmla="*/ 0 w 7237505"/>
              <a:gd name="connsiteY3" fmla="*/ 4933262 h 4933262"/>
              <a:gd name="connsiteX4" fmla="*/ 0 w 7237505"/>
              <a:gd name="connsiteY4" fmla="*/ 1491292 h 4933262"/>
              <a:gd name="connsiteX5" fmla="*/ 148016 w 7237505"/>
              <a:gd name="connsiteY5" fmla="*/ 1437398 h 4933262"/>
              <a:gd name="connsiteX6" fmla="*/ 3756131 w 7237505"/>
              <a:gd name="connsiteY6" fmla="*/ 123640 h 4933262"/>
              <a:gd name="connsiteX7" fmla="*/ 4395998 w 7237505"/>
              <a:gd name="connsiteY7" fmla="*/ 58 h 4933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37505" h="4933262">
                <a:moveTo>
                  <a:pt x="4395998" y="58"/>
                </a:moveTo>
                <a:cubicBezTo>
                  <a:pt x="6238787" y="-15730"/>
                  <a:pt x="6966936" y="3156975"/>
                  <a:pt x="7233138" y="4903565"/>
                </a:cubicBezTo>
                <a:lnTo>
                  <a:pt x="7237505" y="4933262"/>
                </a:lnTo>
                <a:lnTo>
                  <a:pt x="0" y="4933262"/>
                </a:lnTo>
                <a:lnTo>
                  <a:pt x="0" y="1491292"/>
                </a:lnTo>
                <a:lnTo>
                  <a:pt x="148016" y="1437398"/>
                </a:lnTo>
                <a:cubicBezTo>
                  <a:pt x="1090161" y="1094352"/>
                  <a:pt x="2272461" y="663862"/>
                  <a:pt x="3756131" y="123640"/>
                </a:cubicBezTo>
                <a:cubicBezTo>
                  <a:pt x="3983091" y="41001"/>
                  <a:pt x="4196102" y="1771"/>
                  <a:pt x="4395998" y="58"/>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a:ea typeface="+mn-ea"/>
              <a:cs typeface="+mn-cs"/>
            </a:endParaRPr>
          </a:p>
        </p:txBody>
      </p:sp>
      <p:sp>
        <p:nvSpPr>
          <p:cNvPr id="6" name="Título 5">
            <a:extLst>
              <a:ext uri="{FF2B5EF4-FFF2-40B4-BE49-F238E27FC236}">
                <a16:creationId xmlns:a16="http://schemas.microsoft.com/office/drawing/2014/main" id="{6544D870-628D-8A4C-800B-C2769A7BB13F}"/>
              </a:ext>
            </a:extLst>
          </p:cNvPr>
          <p:cNvSpPr>
            <a:spLocks noGrp="1"/>
          </p:cNvSpPr>
          <p:nvPr>
            <p:ph type="title"/>
          </p:nvPr>
        </p:nvSpPr>
        <p:spPr>
          <a:xfrm>
            <a:off x="664661" y="519147"/>
            <a:ext cx="2481861" cy="2312508"/>
          </a:xfrm>
        </p:spPr>
        <p:txBody>
          <a:bodyPr>
            <a:noAutofit/>
          </a:bodyPr>
          <a:lstStyle/>
          <a:p>
            <a:r>
              <a:rPr lang="en-US"/>
              <a:t>QA Dashboards</a:t>
            </a:r>
          </a:p>
        </p:txBody>
      </p:sp>
      <p:sp>
        <p:nvSpPr>
          <p:cNvPr id="12" name="CuadroTexto 11">
            <a:extLst>
              <a:ext uri="{FF2B5EF4-FFF2-40B4-BE49-F238E27FC236}">
                <a16:creationId xmlns:a16="http://schemas.microsoft.com/office/drawing/2014/main" id="{97D825F2-DEBF-D247-86B7-976BCD7FEEE0}"/>
              </a:ext>
            </a:extLst>
          </p:cNvPr>
          <p:cNvSpPr txBox="1"/>
          <p:nvPr/>
        </p:nvSpPr>
        <p:spPr>
          <a:xfrm>
            <a:off x="3410344" y="290639"/>
            <a:ext cx="4564280" cy="113877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12ABDB"/>
                </a:solidFill>
                <a:effectLst/>
                <a:uLnTx/>
                <a:uFillTx/>
                <a:latin typeface="Ubuntu" panose="020B0504030602030204" pitchFamily="34" charset="0"/>
                <a:ea typeface="+mn-ea"/>
                <a:cs typeface="+mn-cs"/>
              </a:rPr>
              <a:t>We process data related to quality assurance and we design &amp; implement </a:t>
            </a:r>
            <a:r>
              <a:rPr kumimoji="0" lang="en-US" sz="1700" b="1" i="0" u="none" strike="noStrike" kern="1200" cap="none" spc="0" normalizeH="0" baseline="0" noProof="0" dirty="0">
                <a:ln>
                  <a:noFill/>
                </a:ln>
                <a:solidFill>
                  <a:srgbClr val="12ABDB"/>
                </a:solidFill>
                <a:effectLst/>
                <a:uLnTx/>
                <a:uFillTx/>
                <a:latin typeface="Ubuntu" panose="020B0504030602030204" pitchFamily="34" charset="0"/>
                <a:ea typeface="+mn-ea"/>
                <a:cs typeface="+mn-cs"/>
              </a:rPr>
              <a:t>fully customized dashboards</a:t>
            </a:r>
            <a:r>
              <a:rPr kumimoji="0" lang="en-US" sz="1700" b="0" i="0" u="none" strike="noStrike" kern="1200" cap="none" spc="0" normalizeH="0" baseline="0" noProof="0" dirty="0">
                <a:ln>
                  <a:noFill/>
                </a:ln>
                <a:solidFill>
                  <a:srgbClr val="12ABDB"/>
                </a:solidFill>
                <a:effectLst/>
                <a:uLnTx/>
                <a:uFillTx/>
                <a:latin typeface="Ubuntu" panose="020B0504030602030204" pitchFamily="34" charset="0"/>
                <a:ea typeface="+mn-ea"/>
                <a:cs typeface="+mn-cs"/>
              </a:rPr>
              <a:t> and analytical systems for testing &amp; QA informed analysis.</a:t>
            </a:r>
          </a:p>
        </p:txBody>
      </p:sp>
      <p:sp>
        <p:nvSpPr>
          <p:cNvPr id="31" name="CuadroTexto 30">
            <a:extLst>
              <a:ext uri="{FF2B5EF4-FFF2-40B4-BE49-F238E27FC236}">
                <a16:creationId xmlns:a16="http://schemas.microsoft.com/office/drawing/2014/main" id="{6B28FF72-4F40-2049-A944-4C1DFF421BCE}"/>
              </a:ext>
            </a:extLst>
          </p:cNvPr>
          <p:cNvSpPr txBox="1"/>
          <p:nvPr/>
        </p:nvSpPr>
        <p:spPr>
          <a:xfrm>
            <a:off x="626833" y="1089619"/>
            <a:ext cx="2328716" cy="203132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2B0A3D"/>
              </a:buClr>
              <a:buSzTx/>
              <a:buFontTx/>
              <a:buNone/>
              <a:tabLst/>
              <a:defRPr/>
            </a:pPr>
            <a:r>
              <a:rPr kumimoji="0" lang="en-US" sz="1800" b="0" i="0" u="none" strike="noStrike" kern="1200" cap="none" spc="0" normalizeH="0" baseline="0" noProof="0" dirty="0">
                <a:ln>
                  <a:noFill/>
                </a:ln>
                <a:effectLst/>
                <a:uLnTx/>
                <a:uFillTx/>
                <a:latin typeface="Ubuntu Light" panose="020B0304030602030204" pitchFamily="34" charset="0"/>
                <a:ea typeface="+mn-ea"/>
                <a:cs typeface="+mn-cs"/>
              </a:rPr>
              <a:t>“Take data further than operative use, improving analytics capabilities through customized and extensible automatic dashboards”</a:t>
            </a:r>
          </a:p>
        </p:txBody>
      </p:sp>
      <p:pic>
        <p:nvPicPr>
          <p:cNvPr id="10" name="Imagen 9" descr="Imagen que contiene objeto&#10;&#10;Descripción generada automáticamente">
            <a:extLst>
              <a:ext uri="{FF2B5EF4-FFF2-40B4-BE49-F238E27FC236}">
                <a16:creationId xmlns:a16="http://schemas.microsoft.com/office/drawing/2014/main" id="{1DDBF39A-85FE-7845-8AED-7D1349C88F11}"/>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315604" y="2307265"/>
            <a:ext cx="3760298" cy="5640446"/>
          </a:xfrm>
          <a:prstGeom prst="rect">
            <a:avLst/>
          </a:prstGeom>
        </p:spPr>
      </p:pic>
      <p:sp>
        <p:nvSpPr>
          <p:cNvPr id="20" name="Freeform 9635">
            <a:extLst>
              <a:ext uri="{FF2B5EF4-FFF2-40B4-BE49-F238E27FC236}">
                <a16:creationId xmlns:a16="http://schemas.microsoft.com/office/drawing/2014/main" id="{AC80AC7E-5F3C-3341-9BEC-B5346495094C}"/>
              </a:ext>
            </a:extLst>
          </p:cNvPr>
          <p:cNvSpPr>
            <a:spLocks noChangeAspect="1"/>
          </p:cNvSpPr>
          <p:nvPr/>
        </p:nvSpPr>
        <p:spPr bwMode="auto">
          <a:xfrm>
            <a:off x="8352887" y="1513377"/>
            <a:ext cx="649690" cy="610563"/>
          </a:xfrm>
          <a:custGeom>
            <a:avLst/>
            <a:gdLst>
              <a:gd name="T0" fmla="*/ 43 w 301"/>
              <a:gd name="T1" fmla="*/ 219 h 281"/>
              <a:gd name="T2" fmla="*/ 72 w 301"/>
              <a:gd name="T3" fmla="*/ 42 h 281"/>
              <a:gd name="T4" fmla="*/ 257 w 301"/>
              <a:gd name="T5" fmla="*/ 68 h 281"/>
              <a:gd name="T6" fmla="*/ 224 w 301"/>
              <a:gd name="T7" fmla="*/ 239 h 281"/>
              <a:gd name="T8" fmla="*/ 43 w 301"/>
              <a:gd name="T9" fmla="*/ 219 h 281"/>
            </a:gdLst>
            <a:ahLst/>
            <a:cxnLst>
              <a:cxn ang="0">
                <a:pos x="T0" y="T1"/>
              </a:cxn>
              <a:cxn ang="0">
                <a:pos x="T2" y="T3"/>
              </a:cxn>
              <a:cxn ang="0">
                <a:pos x="T4" y="T5"/>
              </a:cxn>
              <a:cxn ang="0">
                <a:pos x="T6" y="T7"/>
              </a:cxn>
              <a:cxn ang="0">
                <a:pos x="T8" y="T9"/>
              </a:cxn>
            </a:cxnLst>
            <a:rect l="0" t="0" r="r" b="b"/>
            <a:pathLst>
              <a:path w="301" h="281">
                <a:moveTo>
                  <a:pt x="43" y="219"/>
                </a:moveTo>
                <a:cubicBezTo>
                  <a:pt x="0" y="163"/>
                  <a:pt x="13" y="83"/>
                  <a:pt x="72" y="42"/>
                </a:cubicBezTo>
                <a:cubicBezTo>
                  <a:pt x="131" y="0"/>
                  <a:pt x="214" y="12"/>
                  <a:pt x="257" y="68"/>
                </a:cubicBezTo>
                <a:cubicBezTo>
                  <a:pt x="301" y="124"/>
                  <a:pt x="283" y="197"/>
                  <a:pt x="224" y="239"/>
                </a:cubicBezTo>
                <a:cubicBezTo>
                  <a:pt x="165" y="281"/>
                  <a:pt x="87" y="276"/>
                  <a:pt x="43" y="219"/>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Verdana"/>
              <a:ea typeface="+mn-ea"/>
              <a:cs typeface="+mn-cs"/>
            </a:endParaRPr>
          </a:p>
        </p:txBody>
      </p:sp>
      <p:sp>
        <p:nvSpPr>
          <p:cNvPr id="22" name="Freeform 9635">
            <a:extLst>
              <a:ext uri="{FF2B5EF4-FFF2-40B4-BE49-F238E27FC236}">
                <a16:creationId xmlns:a16="http://schemas.microsoft.com/office/drawing/2014/main" id="{FA1F5328-3608-FB40-AEA3-59F3D4EA9532}"/>
              </a:ext>
            </a:extLst>
          </p:cNvPr>
          <p:cNvSpPr>
            <a:spLocks noChangeAspect="1"/>
          </p:cNvSpPr>
          <p:nvPr/>
        </p:nvSpPr>
        <p:spPr bwMode="auto">
          <a:xfrm>
            <a:off x="8361336" y="2266558"/>
            <a:ext cx="649690" cy="610563"/>
          </a:xfrm>
          <a:custGeom>
            <a:avLst/>
            <a:gdLst>
              <a:gd name="T0" fmla="*/ 43 w 301"/>
              <a:gd name="T1" fmla="*/ 219 h 281"/>
              <a:gd name="T2" fmla="*/ 72 w 301"/>
              <a:gd name="T3" fmla="*/ 42 h 281"/>
              <a:gd name="T4" fmla="*/ 257 w 301"/>
              <a:gd name="T5" fmla="*/ 68 h 281"/>
              <a:gd name="T6" fmla="*/ 224 w 301"/>
              <a:gd name="T7" fmla="*/ 239 h 281"/>
              <a:gd name="T8" fmla="*/ 43 w 301"/>
              <a:gd name="T9" fmla="*/ 219 h 281"/>
            </a:gdLst>
            <a:ahLst/>
            <a:cxnLst>
              <a:cxn ang="0">
                <a:pos x="T0" y="T1"/>
              </a:cxn>
              <a:cxn ang="0">
                <a:pos x="T2" y="T3"/>
              </a:cxn>
              <a:cxn ang="0">
                <a:pos x="T4" y="T5"/>
              </a:cxn>
              <a:cxn ang="0">
                <a:pos x="T6" y="T7"/>
              </a:cxn>
              <a:cxn ang="0">
                <a:pos x="T8" y="T9"/>
              </a:cxn>
            </a:cxnLst>
            <a:rect l="0" t="0" r="r" b="b"/>
            <a:pathLst>
              <a:path w="301" h="281">
                <a:moveTo>
                  <a:pt x="43" y="219"/>
                </a:moveTo>
                <a:cubicBezTo>
                  <a:pt x="0" y="163"/>
                  <a:pt x="13" y="83"/>
                  <a:pt x="72" y="42"/>
                </a:cubicBezTo>
                <a:cubicBezTo>
                  <a:pt x="131" y="0"/>
                  <a:pt x="214" y="12"/>
                  <a:pt x="257" y="68"/>
                </a:cubicBezTo>
                <a:cubicBezTo>
                  <a:pt x="301" y="124"/>
                  <a:pt x="283" y="197"/>
                  <a:pt x="224" y="239"/>
                </a:cubicBezTo>
                <a:cubicBezTo>
                  <a:pt x="165" y="281"/>
                  <a:pt x="87" y="276"/>
                  <a:pt x="43" y="219"/>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Verdana"/>
              <a:ea typeface="+mn-ea"/>
              <a:cs typeface="+mn-cs"/>
            </a:endParaRPr>
          </a:p>
        </p:txBody>
      </p:sp>
      <p:sp>
        <p:nvSpPr>
          <p:cNvPr id="24" name="Freeform 9633">
            <a:extLst>
              <a:ext uri="{FF2B5EF4-FFF2-40B4-BE49-F238E27FC236}">
                <a16:creationId xmlns:a16="http://schemas.microsoft.com/office/drawing/2014/main" id="{2BA181A4-F6A4-0845-A146-EE20BD2B563E}"/>
              </a:ext>
            </a:extLst>
          </p:cNvPr>
          <p:cNvSpPr>
            <a:spLocks noChangeAspect="1"/>
          </p:cNvSpPr>
          <p:nvPr/>
        </p:nvSpPr>
        <p:spPr bwMode="auto">
          <a:xfrm>
            <a:off x="8361336" y="3090919"/>
            <a:ext cx="649653" cy="612244"/>
          </a:xfrm>
          <a:custGeom>
            <a:avLst/>
            <a:gdLst>
              <a:gd name="T0" fmla="*/ 43 w 300"/>
              <a:gd name="T1" fmla="*/ 219 h 281"/>
              <a:gd name="T2" fmla="*/ 72 w 300"/>
              <a:gd name="T3" fmla="*/ 42 h 281"/>
              <a:gd name="T4" fmla="*/ 257 w 300"/>
              <a:gd name="T5" fmla="*/ 68 h 281"/>
              <a:gd name="T6" fmla="*/ 224 w 300"/>
              <a:gd name="T7" fmla="*/ 239 h 281"/>
              <a:gd name="T8" fmla="*/ 43 w 300"/>
              <a:gd name="T9" fmla="*/ 219 h 281"/>
            </a:gdLst>
            <a:ahLst/>
            <a:cxnLst>
              <a:cxn ang="0">
                <a:pos x="T0" y="T1"/>
              </a:cxn>
              <a:cxn ang="0">
                <a:pos x="T2" y="T3"/>
              </a:cxn>
              <a:cxn ang="0">
                <a:pos x="T4" y="T5"/>
              </a:cxn>
              <a:cxn ang="0">
                <a:pos x="T6" y="T7"/>
              </a:cxn>
              <a:cxn ang="0">
                <a:pos x="T8" y="T9"/>
              </a:cxn>
            </a:cxnLst>
            <a:rect l="0" t="0" r="r" b="b"/>
            <a:pathLst>
              <a:path w="300" h="281">
                <a:moveTo>
                  <a:pt x="43" y="219"/>
                </a:moveTo>
                <a:cubicBezTo>
                  <a:pt x="0" y="163"/>
                  <a:pt x="13" y="83"/>
                  <a:pt x="72" y="42"/>
                </a:cubicBezTo>
                <a:cubicBezTo>
                  <a:pt x="131" y="0"/>
                  <a:pt x="214" y="12"/>
                  <a:pt x="257" y="68"/>
                </a:cubicBezTo>
                <a:cubicBezTo>
                  <a:pt x="300" y="124"/>
                  <a:pt x="283" y="197"/>
                  <a:pt x="224" y="239"/>
                </a:cubicBezTo>
                <a:cubicBezTo>
                  <a:pt x="164" y="281"/>
                  <a:pt x="86" y="276"/>
                  <a:pt x="43" y="219"/>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Verdana"/>
              <a:ea typeface="+mn-ea"/>
              <a:cs typeface="+mn-cs"/>
            </a:endParaRPr>
          </a:p>
        </p:txBody>
      </p:sp>
      <p:sp>
        <p:nvSpPr>
          <p:cNvPr id="14" name="CuadroTexto 13">
            <a:extLst>
              <a:ext uri="{FF2B5EF4-FFF2-40B4-BE49-F238E27FC236}">
                <a16:creationId xmlns:a16="http://schemas.microsoft.com/office/drawing/2014/main" id="{7CBFBAA1-719D-9346-B395-02CD93319B3D}"/>
              </a:ext>
            </a:extLst>
          </p:cNvPr>
          <p:cNvSpPr txBox="1"/>
          <p:nvPr/>
        </p:nvSpPr>
        <p:spPr>
          <a:xfrm>
            <a:off x="9011026" y="1526848"/>
            <a:ext cx="2911799" cy="6155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2ABDB"/>
                </a:solidFill>
                <a:effectLst/>
                <a:uLnTx/>
                <a:uFillTx/>
                <a:latin typeface="Ubuntu Light" panose="020B0304030602030204" pitchFamily="34" charset="0"/>
                <a:ea typeface="+mn-ea"/>
                <a:cs typeface="+mn-cs"/>
              </a:rPr>
              <a:t>Fully customized quality dashboard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Ubuntu Light" panose="020B0304030602030204" pitchFamily="34" charset="0"/>
                <a:ea typeface="+mn-ea"/>
                <a:cs typeface="+mn-cs"/>
              </a:rPr>
              <a:t>based on PowerBI and QADashboards platform, deployable on-premises or cloud.</a:t>
            </a:r>
          </a:p>
        </p:txBody>
      </p:sp>
      <p:sp>
        <p:nvSpPr>
          <p:cNvPr id="17" name="CuadroTexto 16">
            <a:extLst>
              <a:ext uri="{FF2B5EF4-FFF2-40B4-BE49-F238E27FC236}">
                <a16:creationId xmlns:a16="http://schemas.microsoft.com/office/drawing/2014/main" id="{F5D32450-ADA7-D34C-97D0-ED0839C65E83}"/>
              </a:ext>
            </a:extLst>
          </p:cNvPr>
          <p:cNvSpPr txBox="1"/>
          <p:nvPr/>
        </p:nvSpPr>
        <p:spPr>
          <a:xfrm>
            <a:off x="9011026" y="2308884"/>
            <a:ext cx="2816851" cy="6155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2ABDB"/>
                </a:solidFill>
                <a:effectLst/>
                <a:uLnTx/>
                <a:uFillTx/>
                <a:latin typeface="Ubuntu Light" panose="020B0304030602030204" pitchFamily="34" charset="0"/>
                <a:ea typeface="+mn-ea"/>
                <a:cs typeface="+mn-cs"/>
              </a:rPr>
              <a:t>Unified data mode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effectLst/>
                <a:uLnTx/>
                <a:uFillTx/>
                <a:latin typeface="Ubuntu Light" panose="020B0304030602030204" pitchFamily="34" charset="0"/>
                <a:ea typeface="+mn-ea"/>
                <a:cs typeface="+mn-cs"/>
              </a:rPr>
              <a:t>that allows reliable dashboards development </a:t>
            </a:r>
            <a:r>
              <a:rPr kumimoji="0" lang="en-US" sz="1100" b="0" i="0" u="none" strike="noStrike" kern="1200" cap="none" spc="0" normalizeH="0" baseline="0" noProof="0" dirty="0">
                <a:ln>
                  <a:noFill/>
                </a:ln>
                <a:effectLst/>
                <a:uLnTx/>
                <a:uFillTx/>
                <a:latin typeface="Ubuntu Light" panose="020B0304030602030204" pitchFamily="34" charset="0"/>
                <a:ea typeface="+mn-ea"/>
                <a:cs typeface="+mn-cs"/>
              </a:rPr>
              <a:t>and reduces maintenance.</a:t>
            </a:r>
          </a:p>
        </p:txBody>
      </p:sp>
      <p:sp>
        <p:nvSpPr>
          <p:cNvPr id="19" name="CuadroTexto 18">
            <a:extLst>
              <a:ext uri="{FF2B5EF4-FFF2-40B4-BE49-F238E27FC236}">
                <a16:creationId xmlns:a16="http://schemas.microsoft.com/office/drawing/2014/main" id="{08D6C392-B4F9-6B41-8207-E3AC9193945D}"/>
              </a:ext>
            </a:extLst>
          </p:cNvPr>
          <p:cNvSpPr txBox="1"/>
          <p:nvPr/>
        </p:nvSpPr>
        <p:spPr>
          <a:xfrm>
            <a:off x="9038138" y="3102853"/>
            <a:ext cx="2772890" cy="6155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2ABDB"/>
                </a:solidFill>
                <a:effectLst/>
                <a:uLnTx/>
                <a:uFillTx/>
                <a:latin typeface="Ubuntu Light" panose="020B0304030602030204" pitchFamily="34" charset="0"/>
                <a:ea typeface="+mn-ea"/>
                <a:cs typeface="+mn-cs"/>
              </a:rPr>
              <a:t>Automatic visualiz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effectLst/>
                <a:uLnTx/>
                <a:uFillTx/>
                <a:latin typeface="Ubuntu Light" panose="020B0304030602030204" pitchFamily="34" charset="0"/>
                <a:ea typeface="+mn-ea"/>
                <a:cs typeface="+mn-cs"/>
              </a:rPr>
              <a:t>of metrics, filters and KPIs </a:t>
            </a:r>
            <a:r>
              <a:rPr kumimoji="0" lang="en-US" sz="1100" b="0" i="0" u="none" strike="noStrike" kern="1200" cap="none" spc="0" normalizeH="0" baseline="0" noProof="0" dirty="0">
                <a:ln>
                  <a:noFill/>
                </a:ln>
                <a:effectLst/>
                <a:uLnTx/>
                <a:uFillTx/>
                <a:latin typeface="Ubuntu Light" panose="020B0304030602030204" pitchFamily="34" charset="0"/>
                <a:ea typeface="+mn-ea"/>
                <a:cs typeface="+mn-cs"/>
              </a:rPr>
              <a:t>customized for each customer.</a:t>
            </a:r>
          </a:p>
        </p:txBody>
      </p:sp>
      <p:pic>
        <p:nvPicPr>
          <p:cNvPr id="23" name="Picture 108065">
            <a:extLst>
              <a:ext uri="{FF2B5EF4-FFF2-40B4-BE49-F238E27FC236}">
                <a16:creationId xmlns:a16="http://schemas.microsoft.com/office/drawing/2014/main" id="{0C9B41F7-82D4-F64F-8D1C-5FF7DA9E816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388448" y="2268343"/>
            <a:ext cx="599137" cy="599137"/>
          </a:xfrm>
          <a:prstGeom prst="rect">
            <a:avLst/>
          </a:prstGeom>
        </p:spPr>
      </p:pic>
      <p:pic>
        <p:nvPicPr>
          <p:cNvPr id="26" name="Picture 5436">
            <a:extLst>
              <a:ext uri="{FF2B5EF4-FFF2-40B4-BE49-F238E27FC236}">
                <a16:creationId xmlns:a16="http://schemas.microsoft.com/office/drawing/2014/main" id="{2F30659B-C445-DC49-8048-A0A039DB0F4B}"/>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389676" y="3093918"/>
            <a:ext cx="599137" cy="599137"/>
          </a:xfrm>
          <a:prstGeom prst="rect">
            <a:avLst/>
          </a:prstGeom>
        </p:spPr>
      </p:pic>
      <p:pic>
        <p:nvPicPr>
          <p:cNvPr id="16" name="Imagen 15">
            <a:extLst>
              <a:ext uri="{FF2B5EF4-FFF2-40B4-BE49-F238E27FC236}">
                <a16:creationId xmlns:a16="http://schemas.microsoft.com/office/drawing/2014/main" id="{0612648A-287B-544E-8BE7-8B71285F71AE}"/>
              </a:ext>
            </a:extLst>
          </p:cNvPr>
          <p:cNvPicPr>
            <a:picLocks noChangeAspect="1"/>
          </p:cNvPicPr>
          <p:nvPr/>
        </p:nvPicPr>
        <p:blipFill>
          <a:blip r:embed="rId6"/>
          <a:stretch>
            <a:fillRect/>
          </a:stretch>
        </p:blipFill>
        <p:spPr>
          <a:xfrm>
            <a:off x="11387437" y="2167614"/>
            <a:ext cx="313138" cy="264371"/>
          </a:xfrm>
          <a:prstGeom prst="rect">
            <a:avLst/>
          </a:prstGeom>
        </p:spPr>
      </p:pic>
      <p:sp>
        <p:nvSpPr>
          <p:cNvPr id="27" name="Freeform 9635">
            <a:extLst>
              <a:ext uri="{FF2B5EF4-FFF2-40B4-BE49-F238E27FC236}">
                <a16:creationId xmlns:a16="http://schemas.microsoft.com/office/drawing/2014/main" id="{F5DE4792-7340-4356-B048-16541830F51E}"/>
              </a:ext>
            </a:extLst>
          </p:cNvPr>
          <p:cNvSpPr>
            <a:spLocks noChangeAspect="1"/>
          </p:cNvSpPr>
          <p:nvPr/>
        </p:nvSpPr>
        <p:spPr bwMode="auto">
          <a:xfrm>
            <a:off x="8388448" y="3898121"/>
            <a:ext cx="649690" cy="610563"/>
          </a:xfrm>
          <a:custGeom>
            <a:avLst/>
            <a:gdLst>
              <a:gd name="T0" fmla="*/ 43 w 301"/>
              <a:gd name="T1" fmla="*/ 219 h 281"/>
              <a:gd name="T2" fmla="*/ 72 w 301"/>
              <a:gd name="T3" fmla="*/ 42 h 281"/>
              <a:gd name="T4" fmla="*/ 257 w 301"/>
              <a:gd name="T5" fmla="*/ 68 h 281"/>
              <a:gd name="T6" fmla="*/ 224 w 301"/>
              <a:gd name="T7" fmla="*/ 239 h 281"/>
              <a:gd name="T8" fmla="*/ 43 w 301"/>
              <a:gd name="T9" fmla="*/ 219 h 281"/>
            </a:gdLst>
            <a:ahLst/>
            <a:cxnLst>
              <a:cxn ang="0">
                <a:pos x="T0" y="T1"/>
              </a:cxn>
              <a:cxn ang="0">
                <a:pos x="T2" y="T3"/>
              </a:cxn>
              <a:cxn ang="0">
                <a:pos x="T4" y="T5"/>
              </a:cxn>
              <a:cxn ang="0">
                <a:pos x="T6" y="T7"/>
              </a:cxn>
              <a:cxn ang="0">
                <a:pos x="T8" y="T9"/>
              </a:cxn>
            </a:cxnLst>
            <a:rect l="0" t="0" r="r" b="b"/>
            <a:pathLst>
              <a:path w="301" h="281">
                <a:moveTo>
                  <a:pt x="43" y="219"/>
                </a:moveTo>
                <a:cubicBezTo>
                  <a:pt x="0" y="163"/>
                  <a:pt x="13" y="83"/>
                  <a:pt x="72" y="42"/>
                </a:cubicBezTo>
                <a:cubicBezTo>
                  <a:pt x="131" y="0"/>
                  <a:pt x="214" y="12"/>
                  <a:pt x="257" y="68"/>
                </a:cubicBezTo>
                <a:cubicBezTo>
                  <a:pt x="301" y="124"/>
                  <a:pt x="283" y="197"/>
                  <a:pt x="224" y="239"/>
                </a:cubicBezTo>
                <a:cubicBezTo>
                  <a:pt x="165" y="281"/>
                  <a:pt x="87" y="276"/>
                  <a:pt x="43" y="219"/>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Verdana"/>
              <a:ea typeface="+mn-ea"/>
              <a:cs typeface="+mn-cs"/>
            </a:endParaRPr>
          </a:p>
        </p:txBody>
      </p:sp>
      <p:sp>
        <p:nvSpPr>
          <p:cNvPr id="28" name="Freeform 9635">
            <a:extLst>
              <a:ext uri="{FF2B5EF4-FFF2-40B4-BE49-F238E27FC236}">
                <a16:creationId xmlns:a16="http://schemas.microsoft.com/office/drawing/2014/main" id="{B6A5F4D4-4888-41FD-81F4-AA20CB84293D}"/>
              </a:ext>
            </a:extLst>
          </p:cNvPr>
          <p:cNvSpPr>
            <a:spLocks noChangeAspect="1"/>
          </p:cNvSpPr>
          <p:nvPr/>
        </p:nvSpPr>
        <p:spPr bwMode="auto">
          <a:xfrm>
            <a:off x="8396897" y="4651302"/>
            <a:ext cx="649690" cy="610563"/>
          </a:xfrm>
          <a:custGeom>
            <a:avLst/>
            <a:gdLst>
              <a:gd name="T0" fmla="*/ 43 w 301"/>
              <a:gd name="T1" fmla="*/ 219 h 281"/>
              <a:gd name="T2" fmla="*/ 72 w 301"/>
              <a:gd name="T3" fmla="*/ 42 h 281"/>
              <a:gd name="T4" fmla="*/ 257 w 301"/>
              <a:gd name="T5" fmla="*/ 68 h 281"/>
              <a:gd name="T6" fmla="*/ 224 w 301"/>
              <a:gd name="T7" fmla="*/ 239 h 281"/>
              <a:gd name="T8" fmla="*/ 43 w 301"/>
              <a:gd name="T9" fmla="*/ 219 h 281"/>
            </a:gdLst>
            <a:ahLst/>
            <a:cxnLst>
              <a:cxn ang="0">
                <a:pos x="T0" y="T1"/>
              </a:cxn>
              <a:cxn ang="0">
                <a:pos x="T2" y="T3"/>
              </a:cxn>
              <a:cxn ang="0">
                <a:pos x="T4" y="T5"/>
              </a:cxn>
              <a:cxn ang="0">
                <a:pos x="T6" y="T7"/>
              </a:cxn>
              <a:cxn ang="0">
                <a:pos x="T8" y="T9"/>
              </a:cxn>
            </a:cxnLst>
            <a:rect l="0" t="0" r="r" b="b"/>
            <a:pathLst>
              <a:path w="301" h="281">
                <a:moveTo>
                  <a:pt x="43" y="219"/>
                </a:moveTo>
                <a:cubicBezTo>
                  <a:pt x="0" y="163"/>
                  <a:pt x="13" y="83"/>
                  <a:pt x="72" y="42"/>
                </a:cubicBezTo>
                <a:cubicBezTo>
                  <a:pt x="131" y="0"/>
                  <a:pt x="214" y="12"/>
                  <a:pt x="257" y="68"/>
                </a:cubicBezTo>
                <a:cubicBezTo>
                  <a:pt x="301" y="124"/>
                  <a:pt x="283" y="197"/>
                  <a:pt x="224" y="239"/>
                </a:cubicBezTo>
                <a:cubicBezTo>
                  <a:pt x="165" y="281"/>
                  <a:pt x="87" y="276"/>
                  <a:pt x="43" y="219"/>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Verdana"/>
              <a:ea typeface="+mn-ea"/>
              <a:cs typeface="+mn-cs"/>
            </a:endParaRPr>
          </a:p>
        </p:txBody>
      </p:sp>
      <p:sp>
        <p:nvSpPr>
          <p:cNvPr id="32" name="CuadroTexto 31">
            <a:extLst>
              <a:ext uri="{FF2B5EF4-FFF2-40B4-BE49-F238E27FC236}">
                <a16:creationId xmlns:a16="http://schemas.microsoft.com/office/drawing/2014/main" id="{0997D7CB-A9FF-4BB0-8244-138DF9209952}"/>
              </a:ext>
            </a:extLst>
          </p:cNvPr>
          <p:cNvSpPr txBox="1"/>
          <p:nvPr/>
        </p:nvSpPr>
        <p:spPr>
          <a:xfrm>
            <a:off x="9046587" y="3911592"/>
            <a:ext cx="2687595" cy="6155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2ABDB"/>
                </a:solidFill>
                <a:effectLst/>
                <a:uLnTx/>
                <a:uFillTx/>
                <a:latin typeface="Ubuntu Light" panose="020B0304030602030204" pitchFamily="34" charset="0"/>
                <a:ea typeface="+mn-ea"/>
                <a:cs typeface="+mn-cs"/>
              </a:rPr>
              <a:t>Mutiple data source dashboard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effectLst/>
                <a:uLnTx/>
                <a:uFillTx/>
                <a:latin typeface="Ubuntu Light" panose="020B0304030602030204" pitchFamily="34" charset="0"/>
                <a:ea typeface="+mn-ea"/>
                <a:cs typeface="+mn-cs"/>
              </a:rPr>
              <a:t>We have predeveloped connectors </a:t>
            </a:r>
            <a:r>
              <a:rPr kumimoji="0" lang="en-US" sz="1100" b="0" i="0" u="none" strike="noStrike" kern="1200" cap="none" spc="0" normalizeH="0" baseline="0" noProof="0" dirty="0">
                <a:ln>
                  <a:noFill/>
                </a:ln>
                <a:effectLst/>
                <a:uLnTx/>
                <a:uFillTx/>
                <a:latin typeface="Ubuntu Light" panose="020B0304030602030204" pitchFamily="34" charset="0"/>
                <a:ea typeface="+mn-ea"/>
                <a:cs typeface="+mn-cs"/>
              </a:rPr>
              <a:t>to most of the existing QA related tools.</a:t>
            </a:r>
          </a:p>
        </p:txBody>
      </p:sp>
      <p:sp>
        <p:nvSpPr>
          <p:cNvPr id="33" name="CuadroTexto 32">
            <a:extLst>
              <a:ext uri="{FF2B5EF4-FFF2-40B4-BE49-F238E27FC236}">
                <a16:creationId xmlns:a16="http://schemas.microsoft.com/office/drawing/2014/main" id="{EF5779BF-43A8-4CD0-B0FB-E023458706CC}"/>
              </a:ext>
            </a:extLst>
          </p:cNvPr>
          <p:cNvSpPr txBox="1"/>
          <p:nvPr/>
        </p:nvSpPr>
        <p:spPr>
          <a:xfrm>
            <a:off x="9046587" y="4693628"/>
            <a:ext cx="2816851" cy="6155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2ABDB"/>
                </a:solidFill>
                <a:effectLst/>
                <a:uLnTx/>
                <a:uFillTx/>
                <a:latin typeface="Ubuntu Light" panose="020B0304030602030204" pitchFamily="34" charset="0"/>
                <a:ea typeface="+mn-ea"/>
                <a:cs typeface="+mn-cs"/>
              </a:rPr>
              <a:t>The base for CognitiveQ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effectLst/>
                <a:uLnTx/>
                <a:uFillTx/>
                <a:latin typeface="Ubuntu Light" panose="020B0304030602030204" pitchFamily="34" charset="0"/>
                <a:ea typeface="+mn-ea"/>
                <a:cs typeface="+mn-cs"/>
              </a:rPr>
              <a:t>QADashboards </a:t>
            </a:r>
            <a:r>
              <a:rPr kumimoji="0" lang="en-US" sz="1100" b="0" i="0" u="none" strike="noStrike" kern="1200" cap="none" spc="0" normalizeH="0" baseline="0" noProof="0" dirty="0">
                <a:ln>
                  <a:noFill/>
                </a:ln>
                <a:effectLst/>
                <a:uLnTx/>
                <a:uFillTx/>
                <a:latin typeface="Ubuntu Light" panose="020B0304030602030204" pitchFamily="34" charset="0"/>
                <a:ea typeface="+mn-ea"/>
                <a:cs typeface="+mn-cs"/>
              </a:rPr>
              <a:t>is a base to be extended with CognitiveQA models.</a:t>
            </a:r>
          </a:p>
        </p:txBody>
      </p:sp>
      <p:pic>
        <p:nvPicPr>
          <p:cNvPr id="35" name="Picture 391">
            <a:extLst>
              <a:ext uri="{FF2B5EF4-FFF2-40B4-BE49-F238E27FC236}">
                <a16:creationId xmlns:a16="http://schemas.microsoft.com/office/drawing/2014/main" id="{4AD124C1-BA1E-4AF1-BBE7-FA17C52B1115}"/>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406117" y="3911592"/>
            <a:ext cx="599137" cy="597092"/>
          </a:xfrm>
          <a:prstGeom prst="rect">
            <a:avLst/>
          </a:prstGeom>
        </p:spPr>
      </p:pic>
      <p:pic>
        <p:nvPicPr>
          <p:cNvPr id="38" name="Picture 9854">
            <a:extLst>
              <a:ext uri="{FF2B5EF4-FFF2-40B4-BE49-F238E27FC236}">
                <a16:creationId xmlns:a16="http://schemas.microsoft.com/office/drawing/2014/main" id="{40AAADA9-3E18-4904-8DC2-BA1D90EFA18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344438" y="1504876"/>
            <a:ext cx="649653" cy="651878"/>
          </a:xfrm>
          <a:prstGeom prst="rect">
            <a:avLst/>
          </a:prstGeom>
        </p:spPr>
      </p:pic>
      <p:pic>
        <p:nvPicPr>
          <p:cNvPr id="39" name="Picture 102944">
            <a:extLst>
              <a:ext uri="{FF2B5EF4-FFF2-40B4-BE49-F238E27FC236}">
                <a16:creationId xmlns:a16="http://schemas.microsoft.com/office/drawing/2014/main" id="{2012C800-9B9F-4E81-B302-05859A777367}"/>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378583" y="4637468"/>
            <a:ext cx="669420" cy="671713"/>
          </a:xfrm>
          <a:prstGeom prst="rect">
            <a:avLst/>
          </a:prstGeom>
        </p:spPr>
      </p:pic>
      <p:grpSp>
        <p:nvGrpSpPr>
          <p:cNvPr id="8" name="Grupo 7">
            <a:extLst>
              <a:ext uri="{FF2B5EF4-FFF2-40B4-BE49-F238E27FC236}">
                <a16:creationId xmlns:a16="http://schemas.microsoft.com/office/drawing/2014/main" id="{044E50A9-CA66-44F8-A347-D03D1ADD4B4D}"/>
              </a:ext>
            </a:extLst>
          </p:cNvPr>
          <p:cNvGrpSpPr/>
          <p:nvPr/>
        </p:nvGrpSpPr>
        <p:grpSpPr>
          <a:xfrm>
            <a:off x="3577755" y="1874971"/>
            <a:ext cx="3861076" cy="1653790"/>
            <a:chOff x="3271660" y="1867427"/>
            <a:chExt cx="3861076" cy="1653790"/>
          </a:xfrm>
        </p:grpSpPr>
        <p:pic>
          <p:nvPicPr>
            <p:cNvPr id="29" name="Imagen 38">
              <a:extLst>
                <a:ext uri="{FF2B5EF4-FFF2-40B4-BE49-F238E27FC236}">
                  <a16:creationId xmlns:a16="http://schemas.microsoft.com/office/drawing/2014/main" id="{5BEFE085-4C00-470F-A832-CB1469FE4487}"/>
                </a:ext>
              </a:extLst>
            </p:cNvPr>
            <p:cNvPicPr>
              <a:picLocks noChangeAspect="1"/>
            </p:cNvPicPr>
            <p:nvPr/>
          </p:nvPicPr>
          <p:blipFill>
            <a:blip r:embed="rId10"/>
            <a:stretch>
              <a:fillRect/>
            </a:stretch>
          </p:blipFill>
          <p:spPr>
            <a:xfrm>
              <a:off x="3271660" y="1867427"/>
              <a:ext cx="3861076" cy="1372592"/>
            </a:xfrm>
            <a:prstGeom prst="rect">
              <a:avLst/>
            </a:prstGeom>
          </p:spPr>
        </p:pic>
        <p:sp>
          <p:nvSpPr>
            <p:cNvPr id="3" name="Rectángulo 2">
              <a:extLst>
                <a:ext uri="{FF2B5EF4-FFF2-40B4-BE49-F238E27FC236}">
                  <a16:creationId xmlns:a16="http://schemas.microsoft.com/office/drawing/2014/main" id="{1A0D6038-0EBD-4870-8D8C-56D04441458C}"/>
                </a:ext>
              </a:extLst>
            </p:cNvPr>
            <p:cNvSpPr/>
            <p:nvPr/>
          </p:nvSpPr>
          <p:spPr>
            <a:xfrm>
              <a:off x="4837519" y="2484360"/>
              <a:ext cx="584689" cy="522028"/>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400" b="0" i="0" u="none" strike="noStrike" kern="1200" cap="none" spc="0" normalizeH="0" baseline="0" noProof="0" dirty="0">
                <a:ln>
                  <a:noFill/>
                </a:ln>
                <a:solidFill>
                  <a:srgbClr val="000000"/>
                </a:solidFill>
                <a:effectLst/>
                <a:uLnTx/>
                <a:uFillTx/>
                <a:latin typeface="Verdana"/>
                <a:ea typeface="+mn-ea"/>
                <a:cs typeface="+mn-cs"/>
              </a:endParaRPr>
            </a:p>
          </p:txBody>
        </p:sp>
        <p:sp>
          <p:nvSpPr>
            <p:cNvPr id="7" name="CuadroTexto 6">
              <a:extLst>
                <a:ext uri="{FF2B5EF4-FFF2-40B4-BE49-F238E27FC236}">
                  <a16:creationId xmlns:a16="http://schemas.microsoft.com/office/drawing/2014/main" id="{C98FB395-B21E-4440-B5D8-1FCC15B1CD17}"/>
                </a:ext>
              </a:extLst>
            </p:cNvPr>
            <p:cNvSpPr txBox="1"/>
            <p:nvPr/>
          </p:nvSpPr>
          <p:spPr>
            <a:xfrm>
              <a:off x="3524628" y="3321162"/>
              <a:ext cx="2536272" cy="20005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0" i="1" u="none" strike="noStrike" kern="1200" cap="none" spc="0" normalizeH="0" baseline="0" noProof="0" dirty="0">
                  <a:ln>
                    <a:noFill/>
                  </a:ln>
                  <a:effectLst/>
                  <a:uLnTx/>
                  <a:uFillTx/>
                  <a:latin typeface="Verdana"/>
                  <a:ea typeface="+mn-ea"/>
                  <a:cs typeface="+mn-cs"/>
                </a:rPr>
                <a:t>The VOICE model. Quality For DevOps </a:t>
              </a:r>
              <a:r>
                <a:rPr kumimoji="0" lang="es-ES" sz="700" b="0" i="1" u="none" strike="noStrike" kern="1200" cap="none" spc="0" normalizeH="0" baseline="0" noProof="0" dirty="0" err="1">
                  <a:ln>
                    <a:noFill/>
                  </a:ln>
                  <a:effectLst/>
                  <a:uLnTx/>
                  <a:uFillTx/>
                  <a:latin typeface="Verdana"/>
                  <a:ea typeface="+mn-ea"/>
                  <a:cs typeface="+mn-cs"/>
                </a:rPr>
                <a:t>teams</a:t>
              </a:r>
              <a:r>
                <a:rPr kumimoji="0" lang="es-ES" sz="700" b="0" i="1" u="none" strike="noStrike" kern="1200" cap="none" spc="0" normalizeH="0" baseline="0" noProof="0" dirty="0">
                  <a:ln>
                    <a:noFill/>
                  </a:ln>
                  <a:effectLst/>
                  <a:uLnTx/>
                  <a:uFillTx/>
                  <a:latin typeface="Verdana"/>
                  <a:ea typeface="+mn-ea"/>
                  <a:cs typeface="+mn-cs"/>
                </a:rPr>
                <a:t> </a:t>
              </a:r>
              <a:r>
                <a:rPr kumimoji="0" lang="es-ES" sz="700" b="0" i="1" u="none" strike="noStrike" kern="1200" cap="none" spc="0" normalizeH="0" baseline="0" noProof="0" dirty="0" err="1">
                  <a:ln>
                    <a:noFill/>
                  </a:ln>
                  <a:effectLst/>
                  <a:uLnTx/>
                  <a:uFillTx/>
                  <a:latin typeface="Verdana"/>
                  <a:ea typeface="+mn-ea"/>
                  <a:cs typeface="+mn-cs"/>
                </a:rPr>
                <a:t>book</a:t>
              </a:r>
              <a:r>
                <a:rPr kumimoji="0" lang="es-ES" sz="700" b="0" i="1" u="none" strike="noStrike" kern="1200" cap="none" spc="0" normalizeH="0" baseline="0" noProof="0" dirty="0">
                  <a:ln>
                    <a:noFill/>
                  </a:ln>
                  <a:effectLst/>
                  <a:uLnTx/>
                  <a:uFillTx/>
                  <a:latin typeface="Verdana"/>
                  <a:ea typeface="+mn-ea"/>
                  <a:cs typeface="+mn-cs"/>
                </a:rPr>
                <a:t>. </a:t>
              </a:r>
            </a:p>
          </p:txBody>
        </p:sp>
      </p:grpSp>
      <p:grpSp>
        <p:nvGrpSpPr>
          <p:cNvPr id="9" name="Grupo 8">
            <a:extLst>
              <a:ext uri="{FF2B5EF4-FFF2-40B4-BE49-F238E27FC236}">
                <a16:creationId xmlns:a16="http://schemas.microsoft.com/office/drawing/2014/main" id="{63426131-B237-4054-A109-60EA6D41E755}"/>
              </a:ext>
            </a:extLst>
          </p:cNvPr>
          <p:cNvGrpSpPr/>
          <p:nvPr/>
        </p:nvGrpSpPr>
        <p:grpSpPr>
          <a:xfrm>
            <a:off x="2955549" y="3745112"/>
            <a:ext cx="4651728" cy="2882472"/>
            <a:chOff x="1386502" y="2607213"/>
            <a:chExt cx="6585704" cy="4080871"/>
          </a:xfrm>
        </p:grpSpPr>
        <p:grpSp>
          <p:nvGrpSpPr>
            <p:cNvPr id="40" name="Grupo 39">
              <a:extLst>
                <a:ext uri="{FF2B5EF4-FFF2-40B4-BE49-F238E27FC236}">
                  <a16:creationId xmlns:a16="http://schemas.microsoft.com/office/drawing/2014/main" id="{050A390E-E819-4196-A4A3-5FA417F2247C}"/>
                </a:ext>
              </a:extLst>
            </p:cNvPr>
            <p:cNvGrpSpPr/>
            <p:nvPr/>
          </p:nvGrpSpPr>
          <p:grpSpPr>
            <a:xfrm>
              <a:off x="4135654" y="2807516"/>
              <a:ext cx="3836552" cy="3127958"/>
              <a:chOff x="-21321" y="981315"/>
              <a:chExt cx="6498321" cy="5471872"/>
            </a:xfrm>
          </p:grpSpPr>
          <p:pic>
            <p:nvPicPr>
              <p:cNvPr id="41" name="Picture 4">
                <a:extLst>
                  <a:ext uri="{FF2B5EF4-FFF2-40B4-BE49-F238E27FC236}">
                    <a16:creationId xmlns:a16="http://schemas.microsoft.com/office/drawing/2014/main" id="{91145157-372E-46EB-B2D4-E345A80C5A3B}"/>
                  </a:ext>
                </a:extLst>
              </p:cNvPr>
              <p:cNvPicPr>
                <a:picLocks noChangeAspect="1"/>
              </p:cNvPicPr>
              <p:nvPr/>
            </p:nvPicPr>
            <p:blipFill>
              <a:blip r:embed="rId11"/>
              <a:stretch>
                <a:fillRect/>
              </a:stretch>
            </p:blipFill>
            <p:spPr>
              <a:xfrm>
                <a:off x="-3000" y="981315"/>
                <a:ext cx="6480000" cy="3655271"/>
              </a:xfrm>
              <a:prstGeom prst="rect">
                <a:avLst/>
              </a:prstGeom>
            </p:spPr>
          </p:pic>
          <p:pic>
            <p:nvPicPr>
              <p:cNvPr id="42" name="Picture 5">
                <a:extLst>
                  <a:ext uri="{FF2B5EF4-FFF2-40B4-BE49-F238E27FC236}">
                    <a16:creationId xmlns:a16="http://schemas.microsoft.com/office/drawing/2014/main" id="{E28BB5FE-2F2D-4DF7-8C06-F850E04EE188}"/>
                  </a:ext>
                </a:extLst>
              </p:cNvPr>
              <p:cNvPicPr>
                <a:picLocks noChangeAspect="1"/>
              </p:cNvPicPr>
              <p:nvPr/>
            </p:nvPicPr>
            <p:blipFill>
              <a:blip r:embed="rId12"/>
              <a:stretch>
                <a:fillRect/>
              </a:stretch>
            </p:blipFill>
            <p:spPr>
              <a:xfrm>
                <a:off x="-21321" y="4628054"/>
                <a:ext cx="3240000" cy="1825133"/>
              </a:xfrm>
              <a:prstGeom prst="rect">
                <a:avLst/>
              </a:prstGeom>
            </p:spPr>
          </p:pic>
          <p:pic>
            <p:nvPicPr>
              <p:cNvPr id="43" name="Picture 6">
                <a:extLst>
                  <a:ext uri="{FF2B5EF4-FFF2-40B4-BE49-F238E27FC236}">
                    <a16:creationId xmlns:a16="http://schemas.microsoft.com/office/drawing/2014/main" id="{CEDE2331-E4D7-4B10-9ACB-EC75C27BB860}"/>
                  </a:ext>
                </a:extLst>
              </p:cNvPr>
              <p:cNvPicPr>
                <a:picLocks noChangeAspect="1"/>
              </p:cNvPicPr>
              <p:nvPr/>
            </p:nvPicPr>
            <p:blipFill>
              <a:blip r:embed="rId13"/>
              <a:stretch>
                <a:fillRect/>
              </a:stretch>
            </p:blipFill>
            <p:spPr>
              <a:xfrm>
                <a:off x="3218679" y="4637193"/>
                <a:ext cx="3240000" cy="1815994"/>
              </a:xfrm>
              <a:prstGeom prst="rect">
                <a:avLst/>
              </a:prstGeom>
            </p:spPr>
          </p:pic>
        </p:grpSp>
        <p:sp>
          <p:nvSpPr>
            <p:cNvPr id="44" name="Rectángulo 43">
              <a:extLst>
                <a:ext uri="{FF2B5EF4-FFF2-40B4-BE49-F238E27FC236}">
                  <a16:creationId xmlns:a16="http://schemas.microsoft.com/office/drawing/2014/main" id="{FCCF48FB-7C9A-47AE-8F5F-4D6D08B981F6}"/>
                </a:ext>
              </a:extLst>
            </p:cNvPr>
            <p:cNvSpPr/>
            <p:nvPr/>
          </p:nvSpPr>
          <p:spPr>
            <a:xfrm>
              <a:off x="4135654" y="2807516"/>
              <a:ext cx="3836552" cy="2039512"/>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050" b="0" i="0" u="none" strike="noStrike" kern="1200" cap="none" spc="0" normalizeH="0" baseline="0" noProof="0" dirty="0">
                <a:ln>
                  <a:noFill/>
                </a:ln>
                <a:solidFill>
                  <a:srgbClr val="000000"/>
                </a:solidFill>
                <a:effectLst/>
                <a:uLnTx/>
                <a:uFillTx/>
                <a:latin typeface="Verdana"/>
                <a:ea typeface="+mn-ea"/>
                <a:cs typeface="+mn-cs"/>
              </a:endParaRPr>
            </a:p>
          </p:txBody>
        </p:sp>
        <p:cxnSp>
          <p:nvCxnSpPr>
            <p:cNvPr id="45" name="Conector recto 44">
              <a:extLst>
                <a:ext uri="{FF2B5EF4-FFF2-40B4-BE49-F238E27FC236}">
                  <a16:creationId xmlns:a16="http://schemas.microsoft.com/office/drawing/2014/main" id="{4A78BE3B-A9E1-4D73-BE5D-23F4F6A2C277}"/>
                </a:ext>
              </a:extLst>
            </p:cNvPr>
            <p:cNvCxnSpPr/>
            <p:nvPr/>
          </p:nvCxnSpPr>
          <p:spPr>
            <a:xfrm>
              <a:off x="2550756" y="3895667"/>
              <a:ext cx="1584897"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46" name="CuadroTexto 45">
              <a:extLst>
                <a:ext uri="{FF2B5EF4-FFF2-40B4-BE49-F238E27FC236}">
                  <a16:creationId xmlns:a16="http://schemas.microsoft.com/office/drawing/2014/main" id="{4557E1CA-5DFD-4839-97B6-00FA8A861373}"/>
                </a:ext>
              </a:extLst>
            </p:cNvPr>
            <p:cNvSpPr txBox="1"/>
            <p:nvPr/>
          </p:nvSpPr>
          <p:spPr>
            <a:xfrm>
              <a:off x="2429732" y="3510235"/>
              <a:ext cx="851501" cy="39216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dirty="0">
                  <a:ln>
                    <a:noFill/>
                  </a:ln>
                  <a:solidFill>
                    <a:srgbClr val="2B0A3D"/>
                  </a:solidFill>
                  <a:effectLst/>
                  <a:uLnTx/>
                  <a:uFillTx/>
                  <a:latin typeface="Ubuntu" panose="020B0504030602030204" pitchFamily="34" charset="0"/>
                  <a:ea typeface="+mn-ea"/>
                  <a:cs typeface="+mn-cs"/>
                </a:rPr>
                <a:t>Pages</a:t>
              </a:r>
            </a:p>
          </p:txBody>
        </p:sp>
        <p:sp>
          <p:nvSpPr>
            <p:cNvPr id="47" name="Rectángulo 46">
              <a:extLst>
                <a:ext uri="{FF2B5EF4-FFF2-40B4-BE49-F238E27FC236}">
                  <a16:creationId xmlns:a16="http://schemas.microsoft.com/office/drawing/2014/main" id="{CB00BC7A-9CDB-47E1-B808-723999D5F130}"/>
                </a:ext>
              </a:extLst>
            </p:cNvPr>
            <p:cNvSpPr/>
            <p:nvPr/>
          </p:nvSpPr>
          <p:spPr>
            <a:xfrm>
              <a:off x="4278771" y="3285775"/>
              <a:ext cx="734183" cy="809310"/>
            </a:xfrm>
            <a:prstGeom prst="rect">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050" b="0" i="0" u="none" strike="noStrike" kern="1200" cap="none" spc="0" normalizeH="0" baseline="0" noProof="0" dirty="0">
                <a:ln>
                  <a:noFill/>
                </a:ln>
                <a:solidFill>
                  <a:srgbClr val="000000"/>
                </a:solidFill>
                <a:effectLst/>
                <a:uLnTx/>
                <a:uFillTx/>
                <a:latin typeface="Verdana"/>
                <a:ea typeface="+mn-ea"/>
                <a:cs typeface="+mn-cs"/>
              </a:endParaRPr>
            </a:p>
          </p:txBody>
        </p:sp>
        <p:cxnSp>
          <p:nvCxnSpPr>
            <p:cNvPr id="48" name="Conector recto 47">
              <a:extLst>
                <a:ext uri="{FF2B5EF4-FFF2-40B4-BE49-F238E27FC236}">
                  <a16:creationId xmlns:a16="http://schemas.microsoft.com/office/drawing/2014/main" id="{392E972C-F883-425B-8899-F1A428CEEDF2}"/>
                </a:ext>
              </a:extLst>
            </p:cNvPr>
            <p:cNvCxnSpPr>
              <a:cxnSpLocks/>
            </p:cNvCxnSpPr>
            <p:nvPr/>
          </p:nvCxnSpPr>
          <p:spPr>
            <a:xfrm>
              <a:off x="4645862" y="4089759"/>
              <a:ext cx="0" cy="253494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49" name="CuadroTexto 48">
              <a:extLst>
                <a:ext uri="{FF2B5EF4-FFF2-40B4-BE49-F238E27FC236}">
                  <a16:creationId xmlns:a16="http://schemas.microsoft.com/office/drawing/2014/main" id="{5965C6E9-6AC2-4F87-BE76-D916CF885564}"/>
                </a:ext>
              </a:extLst>
            </p:cNvPr>
            <p:cNvSpPr txBox="1"/>
            <p:nvPr/>
          </p:nvSpPr>
          <p:spPr>
            <a:xfrm>
              <a:off x="4762333" y="6120862"/>
              <a:ext cx="2140553" cy="39216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dirty="0">
                  <a:ln>
                    <a:noFill/>
                  </a:ln>
                  <a:solidFill>
                    <a:srgbClr val="2B0A3D"/>
                  </a:solidFill>
                  <a:effectLst/>
                  <a:uLnTx/>
                  <a:uFillTx/>
                  <a:latin typeface="Ubuntu" panose="020B0504030602030204" pitchFamily="34" charset="0"/>
                  <a:ea typeface="+mn-ea"/>
                  <a:cs typeface="+mn-cs"/>
                </a:rPr>
                <a:t>Visual components</a:t>
              </a:r>
            </a:p>
          </p:txBody>
        </p:sp>
        <p:sp>
          <p:nvSpPr>
            <p:cNvPr id="50" name="CuadroTexto 49">
              <a:extLst>
                <a:ext uri="{FF2B5EF4-FFF2-40B4-BE49-F238E27FC236}">
                  <a16:creationId xmlns:a16="http://schemas.microsoft.com/office/drawing/2014/main" id="{DDF313AC-4D26-4701-9C70-BF48B32CF22C}"/>
                </a:ext>
              </a:extLst>
            </p:cNvPr>
            <p:cNvSpPr txBox="1"/>
            <p:nvPr/>
          </p:nvSpPr>
          <p:spPr>
            <a:xfrm>
              <a:off x="2454710" y="3936542"/>
              <a:ext cx="1525095" cy="43573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Ubuntu Light" panose="020B0304030602030204" pitchFamily="34" charset="0"/>
                  <a:ea typeface="+mn-ea"/>
                  <a:cs typeface="+mn-cs"/>
                </a:rPr>
                <a:t>Visual components aggregator</a:t>
              </a:r>
            </a:p>
          </p:txBody>
        </p:sp>
        <p:sp>
          <p:nvSpPr>
            <p:cNvPr id="51" name="CuadroTexto 50">
              <a:extLst>
                <a:ext uri="{FF2B5EF4-FFF2-40B4-BE49-F238E27FC236}">
                  <a16:creationId xmlns:a16="http://schemas.microsoft.com/office/drawing/2014/main" id="{47CFBFBB-EDCC-41BD-880F-D059C811152B}"/>
                </a:ext>
              </a:extLst>
            </p:cNvPr>
            <p:cNvSpPr txBox="1"/>
            <p:nvPr/>
          </p:nvSpPr>
          <p:spPr>
            <a:xfrm>
              <a:off x="4762333" y="6404855"/>
              <a:ext cx="2656936" cy="2832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700" b="0" i="0" u="none" strike="noStrike" kern="1200" cap="none" spc="0" normalizeH="0" baseline="0" noProof="0" dirty="0" err="1">
                  <a:ln>
                    <a:noFill/>
                  </a:ln>
                  <a:solidFill>
                    <a:srgbClr val="000000"/>
                  </a:solidFill>
                  <a:effectLst/>
                  <a:uLnTx/>
                  <a:uFillTx/>
                  <a:latin typeface="Ubuntu Light" panose="020B0304030602030204" pitchFamily="34" charset="0"/>
                  <a:ea typeface="+mn-ea"/>
                  <a:cs typeface="+mn-cs"/>
                </a:rPr>
                <a:t>Graphical</a:t>
              </a:r>
              <a:r>
                <a:rPr kumimoji="0" lang="es-ES" sz="700" b="0" i="0" u="none" strike="noStrike" kern="1200" cap="none" spc="0" normalizeH="0" baseline="0" noProof="0" dirty="0">
                  <a:ln>
                    <a:noFill/>
                  </a:ln>
                  <a:solidFill>
                    <a:srgbClr val="000000"/>
                  </a:solidFill>
                  <a:effectLst/>
                  <a:uLnTx/>
                  <a:uFillTx/>
                  <a:latin typeface="Ubuntu Light" panose="020B0304030602030204" pitchFamily="34" charset="0"/>
                  <a:ea typeface="+mn-ea"/>
                  <a:cs typeface="+mn-cs"/>
                </a:rPr>
                <a:t> </a:t>
              </a:r>
              <a:r>
                <a:rPr kumimoji="0" lang="es-ES" sz="700" b="0" i="0" u="none" strike="noStrike" kern="1200" cap="none" spc="0" normalizeH="0" baseline="0" noProof="0" dirty="0" err="1">
                  <a:ln>
                    <a:noFill/>
                  </a:ln>
                  <a:solidFill>
                    <a:srgbClr val="000000"/>
                  </a:solidFill>
                  <a:effectLst/>
                  <a:uLnTx/>
                  <a:uFillTx/>
                  <a:latin typeface="Ubuntu Light" panose="020B0304030602030204" pitchFamily="34" charset="0"/>
                  <a:ea typeface="+mn-ea"/>
                  <a:cs typeface="+mn-cs"/>
                </a:rPr>
                <a:t>visualization</a:t>
              </a:r>
              <a:r>
                <a:rPr kumimoji="0" lang="es-ES" sz="700" b="0" i="0" u="none" strike="noStrike" kern="1200" cap="none" spc="0" normalizeH="0" baseline="0" noProof="0" dirty="0">
                  <a:ln>
                    <a:noFill/>
                  </a:ln>
                  <a:solidFill>
                    <a:srgbClr val="000000"/>
                  </a:solidFill>
                  <a:effectLst/>
                  <a:uLnTx/>
                  <a:uFillTx/>
                  <a:latin typeface="Ubuntu Light" panose="020B0304030602030204" pitchFamily="34" charset="0"/>
                  <a:ea typeface="+mn-ea"/>
                  <a:cs typeface="+mn-cs"/>
                </a:rPr>
                <a:t> </a:t>
              </a:r>
              <a:r>
                <a:rPr kumimoji="0" lang="es-ES" sz="700" b="0" i="0" u="none" strike="noStrike" kern="1200" cap="none" spc="0" normalizeH="0" baseline="0" noProof="0" dirty="0" err="1">
                  <a:ln>
                    <a:noFill/>
                  </a:ln>
                  <a:solidFill>
                    <a:srgbClr val="000000"/>
                  </a:solidFill>
                  <a:effectLst/>
                  <a:uLnTx/>
                  <a:uFillTx/>
                  <a:latin typeface="Ubuntu Light" panose="020B0304030602030204" pitchFamily="34" charset="0"/>
                  <a:ea typeface="+mn-ea"/>
                  <a:cs typeface="+mn-cs"/>
                </a:rPr>
                <a:t>of</a:t>
              </a:r>
              <a:r>
                <a:rPr kumimoji="0" lang="es-ES" sz="700" b="0" i="0" u="none" strike="noStrike" kern="1200" cap="none" spc="0" normalizeH="0" baseline="0" noProof="0" dirty="0">
                  <a:ln>
                    <a:noFill/>
                  </a:ln>
                  <a:solidFill>
                    <a:srgbClr val="000000"/>
                  </a:solidFill>
                  <a:effectLst/>
                  <a:uLnTx/>
                  <a:uFillTx/>
                  <a:latin typeface="Ubuntu Light" panose="020B0304030602030204" pitchFamily="34" charset="0"/>
                  <a:ea typeface="+mn-ea"/>
                  <a:cs typeface="+mn-cs"/>
                </a:rPr>
                <a:t> an </a:t>
              </a:r>
              <a:r>
                <a:rPr kumimoji="0" lang="es-ES" sz="700" b="0" i="0" u="none" strike="noStrike" kern="1200" cap="none" spc="0" normalizeH="0" baseline="0" noProof="0" dirty="0" err="1">
                  <a:ln>
                    <a:noFill/>
                  </a:ln>
                  <a:solidFill>
                    <a:srgbClr val="000000"/>
                  </a:solidFill>
                  <a:effectLst/>
                  <a:uLnTx/>
                  <a:uFillTx/>
                  <a:latin typeface="Ubuntu Light" panose="020B0304030602030204" pitchFamily="34" charset="0"/>
                  <a:ea typeface="+mn-ea"/>
                  <a:cs typeface="+mn-cs"/>
                </a:rPr>
                <a:t>indicator</a:t>
              </a:r>
              <a:endParaRPr kumimoji="0" lang="es-ES" sz="700" b="0" i="0" u="none" strike="noStrike" kern="1200" cap="none" spc="0" normalizeH="0" baseline="0" noProof="0" dirty="0">
                <a:ln>
                  <a:noFill/>
                </a:ln>
                <a:solidFill>
                  <a:srgbClr val="000000"/>
                </a:solidFill>
                <a:effectLst/>
                <a:uLnTx/>
                <a:uFillTx/>
                <a:latin typeface="Ubuntu Light" panose="020B0304030602030204" pitchFamily="34" charset="0"/>
                <a:ea typeface="+mn-ea"/>
                <a:cs typeface="+mn-cs"/>
              </a:endParaRPr>
            </a:p>
          </p:txBody>
        </p:sp>
        <p:sp>
          <p:nvSpPr>
            <p:cNvPr id="52" name="Rectángulo 51">
              <a:extLst>
                <a:ext uri="{FF2B5EF4-FFF2-40B4-BE49-F238E27FC236}">
                  <a16:creationId xmlns:a16="http://schemas.microsoft.com/office/drawing/2014/main" id="{8DF1BB30-135C-4045-B41A-5BBCEB3D340A}"/>
                </a:ext>
              </a:extLst>
            </p:cNvPr>
            <p:cNvSpPr/>
            <p:nvPr/>
          </p:nvSpPr>
          <p:spPr>
            <a:xfrm>
              <a:off x="4955374" y="2807170"/>
              <a:ext cx="2064551" cy="207479"/>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050" b="0" i="0" u="none" strike="noStrike" kern="1200" cap="none" spc="0" normalizeH="0" baseline="0" noProof="0" dirty="0">
                <a:ln>
                  <a:noFill/>
                </a:ln>
                <a:solidFill>
                  <a:srgbClr val="000000"/>
                </a:solidFill>
                <a:effectLst/>
                <a:uLnTx/>
                <a:uFillTx/>
                <a:latin typeface="Verdana"/>
                <a:ea typeface="+mn-ea"/>
                <a:cs typeface="+mn-cs"/>
              </a:endParaRPr>
            </a:p>
          </p:txBody>
        </p:sp>
        <p:cxnSp>
          <p:nvCxnSpPr>
            <p:cNvPr id="53" name="Conector recto 52">
              <a:extLst>
                <a:ext uri="{FF2B5EF4-FFF2-40B4-BE49-F238E27FC236}">
                  <a16:creationId xmlns:a16="http://schemas.microsoft.com/office/drawing/2014/main" id="{5C199631-16F5-4B10-ADA6-40A1227B4CE2}"/>
                </a:ext>
              </a:extLst>
            </p:cNvPr>
            <p:cNvCxnSpPr>
              <a:cxnSpLocks/>
            </p:cNvCxnSpPr>
            <p:nvPr/>
          </p:nvCxnSpPr>
          <p:spPr>
            <a:xfrm>
              <a:off x="1485062" y="2976545"/>
              <a:ext cx="3465549"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54" name="CuadroTexto 53">
              <a:extLst>
                <a:ext uri="{FF2B5EF4-FFF2-40B4-BE49-F238E27FC236}">
                  <a16:creationId xmlns:a16="http://schemas.microsoft.com/office/drawing/2014/main" id="{F176935E-A1AB-4CB1-9E5E-70E5C004636B}"/>
                </a:ext>
              </a:extLst>
            </p:cNvPr>
            <p:cNvSpPr txBox="1"/>
            <p:nvPr/>
          </p:nvSpPr>
          <p:spPr>
            <a:xfrm>
              <a:off x="1386502" y="2607213"/>
              <a:ext cx="885543" cy="39216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dirty="0" err="1">
                  <a:ln>
                    <a:noFill/>
                  </a:ln>
                  <a:solidFill>
                    <a:srgbClr val="2B0A3D"/>
                  </a:solidFill>
                  <a:effectLst/>
                  <a:uLnTx/>
                  <a:uFillTx/>
                  <a:latin typeface="Ubuntu" panose="020B0504030602030204" pitchFamily="34" charset="0"/>
                  <a:ea typeface="+mn-ea"/>
                  <a:cs typeface="+mn-cs"/>
                </a:rPr>
                <a:t>Filters</a:t>
              </a:r>
              <a:endParaRPr kumimoji="0" lang="es-ES" sz="1200" b="0" i="0" u="none" strike="noStrike" kern="1200" cap="none" spc="0" normalizeH="0" baseline="0" noProof="0" dirty="0">
                <a:ln>
                  <a:noFill/>
                </a:ln>
                <a:solidFill>
                  <a:srgbClr val="2B0A3D"/>
                </a:solidFill>
                <a:effectLst/>
                <a:uLnTx/>
                <a:uFillTx/>
                <a:latin typeface="Ubuntu" panose="020B0504030602030204" pitchFamily="34" charset="0"/>
                <a:ea typeface="+mn-ea"/>
                <a:cs typeface="+mn-cs"/>
              </a:endParaRPr>
            </a:p>
          </p:txBody>
        </p:sp>
        <p:sp>
          <p:nvSpPr>
            <p:cNvPr id="55" name="CuadroTexto 54">
              <a:extLst>
                <a:ext uri="{FF2B5EF4-FFF2-40B4-BE49-F238E27FC236}">
                  <a16:creationId xmlns:a16="http://schemas.microsoft.com/office/drawing/2014/main" id="{6694A213-ECDF-4BFB-B3FC-A57617C5A94A}"/>
                </a:ext>
              </a:extLst>
            </p:cNvPr>
            <p:cNvSpPr txBox="1"/>
            <p:nvPr/>
          </p:nvSpPr>
          <p:spPr>
            <a:xfrm>
              <a:off x="1386503" y="3005581"/>
              <a:ext cx="2442549" cy="43573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Ubuntu Light" panose="020B0304030602030204" pitchFamily="34" charset="0"/>
                  <a:ea typeface="+mn-ea"/>
                  <a:cs typeface="+mn-cs"/>
                </a:rPr>
                <a:t>Dynamic filters with customized criteria. </a:t>
              </a:r>
            </a:p>
          </p:txBody>
        </p:sp>
      </p:grpSp>
      <p:pic>
        <p:nvPicPr>
          <p:cNvPr id="11" name="Imagen 10" descr="Interfaz de usuario gráfica&#10;&#10;Descripción generada automáticamente">
            <a:extLst>
              <a:ext uri="{FF2B5EF4-FFF2-40B4-BE49-F238E27FC236}">
                <a16:creationId xmlns:a16="http://schemas.microsoft.com/office/drawing/2014/main" id="{4A28D316-50C5-4FD3-BB4C-7E90F9AD102E}"/>
              </a:ext>
            </a:extLst>
          </p:cNvPr>
          <p:cNvPicPr>
            <a:picLocks noChangeAspect="1"/>
          </p:cNvPicPr>
          <p:nvPr/>
        </p:nvPicPr>
        <p:blipFill>
          <a:blip r:embed="rId14"/>
          <a:stretch>
            <a:fillRect/>
          </a:stretch>
        </p:blipFill>
        <p:spPr>
          <a:xfrm>
            <a:off x="8344438" y="361721"/>
            <a:ext cx="1838350" cy="873521"/>
          </a:xfrm>
          <a:prstGeom prst="rect">
            <a:avLst/>
          </a:prstGeom>
        </p:spPr>
      </p:pic>
    </p:spTree>
    <p:extLst>
      <p:ext uri="{BB962C8B-B14F-4D97-AF65-F5344CB8AC3E}">
        <p14:creationId xmlns:p14="http://schemas.microsoft.com/office/powerpoint/2010/main" val="41889636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Freeform 11">
            <a:extLst>
              <a:ext uri="{FF2B5EF4-FFF2-40B4-BE49-F238E27FC236}">
                <a16:creationId xmlns:a16="http://schemas.microsoft.com/office/drawing/2014/main" id="{989FAB72-E17B-0D41-A6AE-3BB44413317B}"/>
              </a:ext>
            </a:extLst>
          </p:cNvPr>
          <p:cNvSpPr/>
          <p:nvPr/>
        </p:nvSpPr>
        <p:spPr>
          <a:xfrm>
            <a:off x="0" y="3543198"/>
            <a:ext cx="8520984" cy="3325906"/>
          </a:xfrm>
          <a:custGeom>
            <a:avLst/>
            <a:gdLst>
              <a:gd name="connsiteX0" fmla="*/ 4395998 w 7237505"/>
              <a:gd name="connsiteY0" fmla="*/ 58 h 4933262"/>
              <a:gd name="connsiteX1" fmla="*/ 7233138 w 7237505"/>
              <a:gd name="connsiteY1" fmla="*/ 4903565 h 4933262"/>
              <a:gd name="connsiteX2" fmla="*/ 7237505 w 7237505"/>
              <a:gd name="connsiteY2" fmla="*/ 4933262 h 4933262"/>
              <a:gd name="connsiteX3" fmla="*/ 0 w 7237505"/>
              <a:gd name="connsiteY3" fmla="*/ 4933262 h 4933262"/>
              <a:gd name="connsiteX4" fmla="*/ 0 w 7237505"/>
              <a:gd name="connsiteY4" fmla="*/ 1491292 h 4933262"/>
              <a:gd name="connsiteX5" fmla="*/ 148016 w 7237505"/>
              <a:gd name="connsiteY5" fmla="*/ 1437398 h 4933262"/>
              <a:gd name="connsiteX6" fmla="*/ 3756131 w 7237505"/>
              <a:gd name="connsiteY6" fmla="*/ 123640 h 4933262"/>
              <a:gd name="connsiteX7" fmla="*/ 4395998 w 7237505"/>
              <a:gd name="connsiteY7" fmla="*/ 58 h 4933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37505" h="4933262">
                <a:moveTo>
                  <a:pt x="4395998" y="58"/>
                </a:moveTo>
                <a:cubicBezTo>
                  <a:pt x="6238787" y="-15730"/>
                  <a:pt x="6966936" y="3156975"/>
                  <a:pt x="7233138" y="4903565"/>
                </a:cubicBezTo>
                <a:lnTo>
                  <a:pt x="7237505" y="4933262"/>
                </a:lnTo>
                <a:lnTo>
                  <a:pt x="0" y="4933262"/>
                </a:lnTo>
                <a:lnTo>
                  <a:pt x="0" y="1491292"/>
                </a:lnTo>
                <a:lnTo>
                  <a:pt x="148016" y="1437398"/>
                </a:lnTo>
                <a:cubicBezTo>
                  <a:pt x="1090161" y="1094352"/>
                  <a:pt x="2272461" y="663862"/>
                  <a:pt x="3756131" y="123640"/>
                </a:cubicBezTo>
                <a:cubicBezTo>
                  <a:pt x="3983091" y="41001"/>
                  <a:pt x="4196102" y="1771"/>
                  <a:pt x="4395998" y="58"/>
                </a:cubicBezTo>
                <a:close/>
              </a:path>
            </a:pathLst>
          </a:cu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a:ea typeface="+mn-ea"/>
              <a:cs typeface="+mn-cs"/>
            </a:endParaRPr>
          </a:p>
        </p:txBody>
      </p:sp>
      <p:sp>
        <p:nvSpPr>
          <p:cNvPr id="6" name="Título 5">
            <a:extLst>
              <a:ext uri="{FF2B5EF4-FFF2-40B4-BE49-F238E27FC236}">
                <a16:creationId xmlns:a16="http://schemas.microsoft.com/office/drawing/2014/main" id="{6544D870-628D-8A4C-800B-C2769A7BB13F}"/>
              </a:ext>
            </a:extLst>
          </p:cNvPr>
          <p:cNvSpPr>
            <a:spLocks noGrp="1"/>
          </p:cNvSpPr>
          <p:nvPr>
            <p:ph type="title"/>
          </p:nvPr>
        </p:nvSpPr>
        <p:spPr>
          <a:xfrm>
            <a:off x="664661" y="519147"/>
            <a:ext cx="2481861" cy="2312508"/>
          </a:xfrm>
        </p:spPr>
        <p:txBody>
          <a:bodyPr>
            <a:noAutofit/>
          </a:bodyPr>
          <a:lstStyle/>
          <a:p>
            <a:r>
              <a:rPr lang="en-US" dirty="0"/>
              <a:t>QualityEye</a:t>
            </a:r>
          </a:p>
        </p:txBody>
      </p:sp>
      <p:sp>
        <p:nvSpPr>
          <p:cNvPr id="12" name="CuadroTexto 11">
            <a:extLst>
              <a:ext uri="{FF2B5EF4-FFF2-40B4-BE49-F238E27FC236}">
                <a16:creationId xmlns:a16="http://schemas.microsoft.com/office/drawing/2014/main" id="{97D825F2-DEBF-D247-86B7-976BCD7FEEE0}"/>
              </a:ext>
            </a:extLst>
          </p:cNvPr>
          <p:cNvSpPr txBox="1"/>
          <p:nvPr/>
        </p:nvSpPr>
        <p:spPr>
          <a:xfrm>
            <a:off x="2801943" y="336591"/>
            <a:ext cx="3616442" cy="192360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12ABDB"/>
                </a:solidFill>
                <a:effectLst/>
                <a:uLnTx/>
                <a:uFillTx/>
                <a:latin typeface="Ubuntu" panose="020B0504030602030204" pitchFamily="34" charset="0"/>
                <a:ea typeface="+mn-ea"/>
                <a:cs typeface="+mn-cs"/>
              </a:rPr>
              <a:t>It’s time to start by having centralized visibility of quality with aggregated data coming from different projects and quality management sources by a predefined quality dashboard powered by Sogeti.</a:t>
            </a:r>
          </a:p>
        </p:txBody>
      </p:sp>
      <p:sp>
        <p:nvSpPr>
          <p:cNvPr id="31" name="CuadroTexto 30">
            <a:extLst>
              <a:ext uri="{FF2B5EF4-FFF2-40B4-BE49-F238E27FC236}">
                <a16:creationId xmlns:a16="http://schemas.microsoft.com/office/drawing/2014/main" id="{6B28FF72-4F40-2049-A944-4C1DFF421BCE}"/>
              </a:ext>
            </a:extLst>
          </p:cNvPr>
          <p:cNvSpPr txBox="1"/>
          <p:nvPr/>
        </p:nvSpPr>
        <p:spPr>
          <a:xfrm>
            <a:off x="592751" y="1350762"/>
            <a:ext cx="2093577" cy="17543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2B0A3D"/>
              </a:buClr>
              <a:buSzTx/>
              <a:buFontTx/>
              <a:buNone/>
              <a:tabLst/>
              <a:defRPr/>
            </a:pPr>
            <a:r>
              <a:rPr kumimoji="0" lang="en-US" sz="1800" b="0" i="0" u="none" strike="noStrike" kern="1200" cap="none" spc="0" normalizeH="0" baseline="0" noProof="0" dirty="0">
                <a:ln>
                  <a:noFill/>
                </a:ln>
                <a:effectLst/>
                <a:uLnTx/>
                <a:uFillTx/>
                <a:latin typeface="Ubuntu Light" panose="020B0304030602030204" pitchFamily="34" charset="0"/>
                <a:ea typeface="+mn-ea"/>
                <a:cs typeface="+mn-cs"/>
              </a:rPr>
              <a:t>“Boosting your quality engineering journey with focus on feedback and transparency”</a:t>
            </a:r>
          </a:p>
        </p:txBody>
      </p:sp>
      <p:grpSp>
        <p:nvGrpSpPr>
          <p:cNvPr id="2" name="Grupo 1">
            <a:extLst>
              <a:ext uri="{FF2B5EF4-FFF2-40B4-BE49-F238E27FC236}">
                <a16:creationId xmlns:a16="http://schemas.microsoft.com/office/drawing/2014/main" id="{80E84276-B3A0-4B87-B686-E919201B5361}"/>
              </a:ext>
            </a:extLst>
          </p:cNvPr>
          <p:cNvGrpSpPr/>
          <p:nvPr/>
        </p:nvGrpSpPr>
        <p:grpSpPr>
          <a:xfrm>
            <a:off x="8940415" y="1404871"/>
            <a:ext cx="2685229" cy="2484881"/>
            <a:chOff x="8374198" y="1821497"/>
            <a:chExt cx="3178984" cy="2941796"/>
          </a:xfrm>
        </p:grpSpPr>
        <p:sp>
          <p:nvSpPr>
            <p:cNvPr id="28" name="Freeform 9635">
              <a:extLst>
                <a:ext uri="{FF2B5EF4-FFF2-40B4-BE49-F238E27FC236}">
                  <a16:creationId xmlns:a16="http://schemas.microsoft.com/office/drawing/2014/main" id="{72C8F9B3-44CF-4E8F-A4E9-0ECE59F3E66C}"/>
                </a:ext>
              </a:extLst>
            </p:cNvPr>
            <p:cNvSpPr>
              <a:spLocks noChangeAspect="1"/>
            </p:cNvSpPr>
            <p:nvPr/>
          </p:nvSpPr>
          <p:spPr bwMode="auto">
            <a:xfrm>
              <a:off x="8374198" y="1821497"/>
              <a:ext cx="814304" cy="765263"/>
            </a:xfrm>
            <a:custGeom>
              <a:avLst/>
              <a:gdLst>
                <a:gd name="T0" fmla="*/ 43 w 301"/>
                <a:gd name="T1" fmla="*/ 219 h 281"/>
                <a:gd name="T2" fmla="*/ 72 w 301"/>
                <a:gd name="T3" fmla="*/ 42 h 281"/>
                <a:gd name="T4" fmla="*/ 257 w 301"/>
                <a:gd name="T5" fmla="*/ 68 h 281"/>
                <a:gd name="T6" fmla="*/ 224 w 301"/>
                <a:gd name="T7" fmla="*/ 239 h 281"/>
                <a:gd name="T8" fmla="*/ 43 w 301"/>
                <a:gd name="T9" fmla="*/ 219 h 281"/>
              </a:gdLst>
              <a:ahLst/>
              <a:cxnLst>
                <a:cxn ang="0">
                  <a:pos x="T0" y="T1"/>
                </a:cxn>
                <a:cxn ang="0">
                  <a:pos x="T2" y="T3"/>
                </a:cxn>
                <a:cxn ang="0">
                  <a:pos x="T4" y="T5"/>
                </a:cxn>
                <a:cxn ang="0">
                  <a:pos x="T6" y="T7"/>
                </a:cxn>
                <a:cxn ang="0">
                  <a:pos x="T8" y="T9"/>
                </a:cxn>
              </a:cxnLst>
              <a:rect l="0" t="0" r="r" b="b"/>
              <a:pathLst>
                <a:path w="301" h="281">
                  <a:moveTo>
                    <a:pt x="43" y="219"/>
                  </a:moveTo>
                  <a:cubicBezTo>
                    <a:pt x="0" y="163"/>
                    <a:pt x="13" y="83"/>
                    <a:pt x="72" y="42"/>
                  </a:cubicBezTo>
                  <a:cubicBezTo>
                    <a:pt x="131" y="0"/>
                    <a:pt x="214" y="12"/>
                    <a:pt x="257" y="68"/>
                  </a:cubicBezTo>
                  <a:cubicBezTo>
                    <a:pt x="301" y="124"/>
                    <a:pt x="283" y="197"/>
                    <a:pt x="224" y="239"/>
                  </a:cubicBezTo>
                  <a:cubicBezTo>
                    <a:pt x="165" y="281"/>
                    <a:pt x="87" y="276"/>
                    <a:pt x="43" y="219"/>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Verdana"/>
                <a:ea typeface="+mn-ea"/>
                <a:cs typeface="+mn-cs"/>
              </a:endParaRPr>
            </a:p>
          </p:txBody>
        </p:sp>
        <p:sp>
          <p:nvSpPr>
            <p:cNvPr id="29" name="Freeform 9635">
              <a:extLst>
                <a:ext uri="{FF2B5EF4-FFF2-40B4-BE49-F238E27FC236}">
                  <a16:creationId xmlns:a16="http://schemas.microsoft.com/office/drawing/2014/main" id="{6559A950-7B6F-443D-B8C5-3725B0DF6507}"/>
                </a:ext>
              </a:extLst>
            </p:cNvPr>
            <p:cNvSpPr>
              <a:spLocks noChangeAspect="1"/>
            </p:cNvSpPr>
            <p:nvPr/>
          </p:nvSpPr>
          <p:spPr bwMode="auto">
            <a:xfrm>
              <a:off x="8390859" y="3205584"/>
              <a:ext cx="814304" cy="765264"/>
            </a:xfrm>
            <a:custGeom>
              <a:avLst/>
              <a:gdLst>
                <a:gd name="T0" fmla="*/ 43 w 301"/>
                <a:gd name="T1" fmla="*/ 219 h 281"/>
                <a:gd name="T2" fmla="*/ 72 w 301"/>
                <a:gd name="T3" fmla="*/ 42 h 281"/>
                <a:gd name="T4" fmla="*/ 257 w 301"/>
                <a:gd name="T5" fmla="*/ 68 h 281"/>
                <a:gd name="T6" fmla="*/ 224 w 301"/>
                <a:gd name="T7" fmla="*/ 239 h 281"/>
                <a:gd name="T8" fmla="*/ 43 w 301"/>
                <a:gd name="T9" fmla="*/ 219 h 281"/>
              </a:gdLst>
              <a:ahLst/>
              <a:cxnLst>
                <a:cxn ang="0">
                  <a:pos x="T0" y="T1"/>
                </a:cxn>
                <a:cxn ang="0">
                  <a:pos x="T2" y="T3"/>
                </a:cxn>
                <a:cxn ang="0">
                  <a:pos x="T4" y="T5"/>
                </a:cxn>
                <a:cxn ang="0">
                  <a:pos x="T6" y="T7"/>
                </a:cxn>
                <a:cxn ang="0">
                  <a:pos x="T8" y="T9"/>
                </a:cxn>
              </a:cxnLst>
              <a:rect l="0" t="0" r="r" b="b"/>
              <a:pathLst>
                <a:path w="301" h="281">
                  <a:moveTo>
                    <a:pt x="43" y="219"/>
                  </a:moveTo>
                  <a:cubicBezTo>
                    <a:pt x="0" y="163"/>
                    <a:pt x="13" y="83"/>
                    <a:pt x="72" y="42"/>
                  </a:cubicBezTo>
                  <a:cubicBezTo>
                    <a:pt x="131" y="0"/>
                    <a:pt x="214" y="12"/>
                    <a:pt x="257" y="68"/>
                  </a:cubicBezTo>
                  <a:cubicBezTo>
                    <a:pt x="301" y="124"/>
                    <a:pt x="283" y="197"/>
                    <a:pt x="224" y="239"/>
                  </a:cubicBezTo>
                  <a:cubicBezTo>
                    <a:pt x="165" y="281"/>
                    <a:pt x="87" y="276"/>
                    <a:pt x="43" y="219"/>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Verdana"/>
                <a:ea typeface="+mn-ea"/>
                <a:cs typeface="+mn-cs"/>
              </a:endParaRPr>
            </a:p>
          </p:txBody>
        </p:sp>
        <p:sp>
          <p:nvSpPr>
            <p:cNvPr id="32" name="CuadroTexto 31">
              <a:extLst>
                <a:ext uri="{FF2B5EF4-FFF2-40B4-BE49-F238E27FC236}">
                  <a16:creationId xmlns:a16="http://schemas.microsoft.com/office/drawing/2014/main" id="{B3249AAE-14AD-4F0A-9F0A-A69233014E72}"/>
                </a:ext>
              </a:extLst>
            </p:cNvPr>
            <p:cNvSpPr txBox="1"/>
            <p:nvPr/>
          </p:nvSpPr>
          <p:spPr>
            <a:xfrm>
              <a:off x="9308707" y="1848531"/>
              <a:ext cx="2212179" cy="94736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2ABDB"/>
                  </a:solidFill>
                  <a:effectLst/>
                  <a:uLnTx/>
                  <a:uFillTx/>
                  <a:latin typeface="Ubuntu Light" panose="020B0304030602030204" pitchFamily="34" charset="0"/>
                  <a:ea typeface="+mn-ea"/>
                  <a:cs typeface="+mn-cs"/>
                </a:rPr>
                <a:t>Your first quality dashboar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effectLst/>
                  <a:uLnTx/>
                  <a:uFillTx/>
                  <a:latin typeface="Ubuntu Light" panose="020B0304030602030204" pitchFamily="34" charset="0"/>
                  <a:ea typeface="+mn-ea"/>
                  <a:cs typeface="+mn-cs"/>
                </a:rPr>
                <a:t>With pre-defined dashboards &amp; connectors</a:t>
              </a:r>
              <a:endParaRPr kumimoji="0" lang="en-US" sz="1100" b="0" i="0" u="none" strike="noStrike" kern="1200" cap="none" spc="0" normalizeH="0" baseline="0" noProof="0" dirty="0">
                <a:ln>
                  <a:noFill/>
                </a:ln>
                <a:effectLst/>
                <a:uLnTx/>
                <a:uFillTx/>
                <a:latin typeface="Ubuntu Light" panose="020B0304030602030204" pitchFamily="34" charset="0"/>
                <a:ea typeface="+mn-ea"/>
                <a:cs typeface="+mn-cs"/>
              </a:endParaRPr>
            </a:p>
          </p:txBody>
        </p:sp>
        <p:sp>
          <p:nvSpPr>
            <p:cNvPr id="33" name="CuadroTexto 32">
              <a:extLst>
                <a:ext uri="{FF2B5EF4-FFF2-40B4-BE49-F238E27FC236}">
                  <a16:creationId xmlns:a16="http://schemas.microsoft.com/office/drawing/2014/main" id="{A81EEFF6-112C-4446-85E4-3F0B48B82544}"/>
                </a:ext>
              </a:extLst>
            </p:cNvPr>
            <p:cNvSpPr txBox="1"/>
            <p:nvPr/>
          </p:nvSpPr>
          <p:spPr>
            <a:xfrm>
              <a:off x="9267331" y="3232939"/>
              <a:ext cx="2285851" cy="15303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2ABDB"/>
                  </a:solidFill>
                  <a:effectLst/>
                  <a:uLnTx/>
                  <a:uFillTx/>
                  <a:latin typeface="Ubuntu Light" panose="020B0304030602030204" pitchFamily="34" charset="0"/>
                  <a:ea typeface="+mn-ea"/>
                  <a:cs typeface="+mn-cs"/>
                </a:rPr>
                <a:t>Flexible deploy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effectLst/>
                  <a:uLnTx/>
                  <a:uFillTx/>
                  <a:latin typeface="Ubuntu Light" panose="020B0304030602030204" pitchFamily="34" charset="0"/>
                  <a:ea typeface="+mn-ea"/>
                  <a:cs typeface="+mn-cs"/>
                </a:rPr>
                <a:t>QualityEye </a:t>
              </a:r>
              <a:r>
                <a:rPr kumimoji="0" lang="en-US" sz="1100" b="0" i="0" u="none" strike="noStrike" kern="1200" cap="none" spc="0" normalizeH="0" baseline="0" noProof="0" dirty="0">
                  <a:ln>
                    <a:noFill/>
                  </a:ln>
                  <a:effectLst/>
                  <a:uLnTx/>
                  <a:uFillTx/>
                  <a:latin typeface="Ubuntu Light" panose="020B0304030602030204" pitchFamily="34" charset="0"/>
                  <a:ea typeface="+mn-ea"/>
                  <a:cs typeface="+mn-cs"/>
                </a:rPr>
                <a:t>can be deployed on-premises or in Azure Cloud, and dashboards can be built on PowerBI or independent to PowerBI (SogetiHub-based) </a:t>
              </a:r>
            </a:p>
          </p:txBody>
        </p:sp>
      </p:grpSp>
      <p:sp>
        <p:nvSpPr>
          <p:cNvPr id="23" name="Freeform 9635">
            <a:extLst>
              <a:ext uri="{FF2B5EF4-FFF2-40B4-BE49-F238E27FC236}">
                <a16:creationId xmlns:a16="http://schemas.microsoft.com/office/drawing/2014/main" id="{A91917D4-131B-4BCE-852B-3476CDD10CF0}"/>
              </a:ext>
            </a:extLst>
          </p:cNvPr>
          <p:cNvSpPr>
            <a:spLocks noChangeAspect="1"/>
          </p:cNvSpPr>
          <p:nvPr/>
        </p:nvSpPr>
        <p:spPr bwMode="auto">
          <a:xfrm>
            <a:off x="8989437" y="4023249"/>
            <a:ext cx="687828" cy="646404"/>
          </a:xfrm>
          <a:custGeom>
            <a:avLst/>
            <a:gdLst>
              <a:gd name="T0" fmla="*/ 43 w 301"/>
              <a:gd name="T1" fmla="*/ 219 h 281"/>
              <a:gd name="T2" fmla="*/ 72 w 301"/>
              <a:gd name="T3" fmla="*/ 42 h 281"/>
              <a:gd name="T4" fmla="*/ 257 w 301"/>
              <a:gd name="T5" fmla="*/ 68 h 281"/>
              <a:gd name="T6" fmla="*/ 224 w 301"/>
              <a:gd name="T7" fmla="*/ 239 h 281"/>
              <a:gd name="T8" fmla="*/ 43 w 301"/>
              <a:gd name="T9" fmla="*/ 219 h 281"/>
            </a:gdLst>
            <a:ahLst/>
            <a:cxnLst>
              <a:cxn ang="0">
                <a:pos x="T0" y="T1"/>
              </a:cxn>
              <a:cxn ang="0">
                <a:pos x="T2" y="T3"/>
              </a:cxn>
              <a:cxn ang="0">
                <a:pos x="T4" y="T5"/>
              </a:cxn>
              <a:cxn ang="0">
                <a:pos x="T6" y="T7"/>
              </a:cxn>
              <a:cxn ang="0">
                <a:pos x="T8" y="T9"/>
              </a:cxn>
            </a:cxnLst>
            <a:rect l="0" t="0" r="r" b="b"/>
            <a:pathLst>
              <a:path w="301" h="281">
                <a:moveTo>
                  <a:pt x="43" y="219"/>
                </a:moveTo>
                <a:cubicBezTo>
                  <a:pt x="0" y="163"/>
                  <a:pt x="13" y="83"/>
                  <a:pt x="72" y="42"/>
                </a:cubicBezTo>
                <a:cubicBezTo>
                  <a:pt x="131" y="0"/>
                  <a:pt x="214" y="12"/>
                  <a:pt x="257" y="68"/>
                </a:cubicBezTo>
                <a:cubicBezTo>
                  <a:pt x="301" y="124"/>
                  <a:pt x="283" y="197"/>
                  <a:pt x="224" y="239"/>
                </a:cubicBezTo>
                <a:cubicBezTo>
                  <a:pt x="165" y="281"/>
                  <a:pt x="87" y="276"/>
                  <a:pt x="43" y="219"/>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Verdana"/>
              <a:ea typeface="+mn-ea"/>
              <a:cs typeface="+mn-cs"/>
            </a:endParaRPr>
          </a:p>
        </p:txBody>
      </p:sp>
      <p:sp>
        <p:nvSpPr>
          <p:cNvPr id="24" name="CuadroTexto 23">
            <a:extLst>
              <a:ext uri="{FF2B5EF4-FFF2-40B4-BE49-F238E27FC236}">
                <a16:creationId xmlns:a16="http://schemas.microsoft.com/office/drawing/2014/main" id="{519B6C0A-157C-4BBC-A31B-A53152357174}"/>
              </a:ext>
            </a:extLst>
          </p:cNvPr>
          <p:cNvSpPr txBox="1"/>
          <p:nvPr/>
        </p:nvSpPr>
        <p:spPr>
          <a:xfrm>
            <a:off x="9729777" y="4046355"/>
            <a:ext cx="1930816" cy="112338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2ABDB"/>
                </a:solidFill>
                <a:effectLst/>
                <a:uLnTx/>
                <a:uFillTx/>
                <a:latin typeface="Ubuntu Light" panose="020B0304030602030204" pitchFamily="34" charset="0"/>
                <a:ea typeface="+mn-ea"/>
                <a:cs typeface="+mn-cs"/>
              </a:rPr>
              <a:t>Main KPI area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Ubuntu Light" panose="020B0304030602030204" pitchFamily="34" charset="0"/>
                <a:ea typeface="+mn-ea"/>
                <a:cs typeface="+mn-cs"/>
              </a:rPr>
              <a:t>Requirements, Test cases, Test cases executions and defects, with many graphical components and filters. </a:t>
            </a:r>
          </a:p>
        </p:txBody>
      </p:sp>
      <p:grpSp>
        <p:nvGrpSpPr>
          <p:cNvPr id="4" name="Grupo 3">
            <a:extLst>
              <a:ext uri="{FF2B5EF4-FFF2-40B4-BE49-F238E27FC236}">
                <a16:creationId xmlns:a16="http://schemas.microsoft.com/office/drawing/2014/main" id="{278198BA-66C5-4744-B165-4778BB2CCED2}"/>
              </a:ext>
            </a:extLst>
          </p:cNvPr>
          <p:cNvGrpSpPr/>
          <p:nvPr/>
        </p:nvGrpSpPr>
        <p:grpSpPr>
          <a:xfrm>
            <a:off x="2925036" y="2549925"/>
            <a:ext cx="5296131" cy="4026455"/>
            <a:chOff x="2940295" y="2402373"/>
            <a:chExt cx="5374563" cy="4086084"/>
          </a:xfrm>
        </p:grpSpPr>
        <p:pic>
          <p:nvPicPr>
            <p:cNvPr id="41" name="Imagen 40">
              <a:extLst>
                <a:ext uri="{FF2B5EF4-FFF2-40B4-BE49-F238E27FC236}">
                  <a16:creationId xmlns:a16="http://schemas.microsoft.com/office/drawing/2014/main" id="{49EF519F-2F83-495D-985B-C143FC677651}"/>
                </a:ext>
              </a:extLst>
            </p:cNvPr>
            <p:cNvPicPr>
              <a:picLocks noChangeAspect="1"/>
            </p:cNvPicPr>
            <p:nvPr/>
          </p:nvPicPr>
          <p:blipFill>
            <a:blip r:embed="rId3"/>
            <a:stretch>
              <a:fillRect/>
            </a:stretch>
          </p:blipFill>
          <p:spPr>
            <a:xfrm>
              <a:off x="5575183" y="2406568"/>
              <a:ext cx="2739675" cy="1833252"/>
            </a:xfrm>
            <a:prstGeom prst="rect">
              <a:avLst/>
            </a:prstGeom>
            <a:ln>
              <a:noFill/>
            </a:ln>
            <a:effectLst>
              <a:outerShdw blurRad="292100" dist="139700" dir="2700000" algn="tl" rotWithShape="0">
                <a:srgbClr val="333333">
                  <a:alpha val="65000"/>
                </a:srgbClr>
              </a:outerShdw>
            </a:effectLst>
          </p:spPr>
        </p:pic>
        <p:pic>
          <p:nvPicPr>
            <p:cNvPr id="42" name="Imagen 41">
              <a:extLst>
                <a:ext uri="{FF2B5EF4-FFF2-40B4-BE49-F238E27FC236}">
                  <a16:creationId xmlns:a16="http://schemas.microsoft.com/office/drawing/2014/main" id="{05471BB2-B199-446B-AD56-7A5265919C61}"/>
                </a:ext>
              </a:extLst>
            </p:cNvPr>
            <p:cNvPicPr>
              <a:picLocks noChangeAspect="1"/>
            </p:cNvPicPr>
            <p:nvPr/>
          </p:nvPicPr>
          <p:blipFill rotWithShape="1">
            <a:blip r:embed="rId4"/>
            <a:srcRect r="59546"/>
            <a:stretch/>
          </p:blipFill>
          <p:spPr>
            <a:xfrm>
              <a:off x="2940295" y="4350488"/>
              <a:ext cx="1499820" cy="2132009"/>
            </a:xfrm>
            <a:prstGeom prst="rect">
              <a:avLst/>
            </a:prstGeom>
            <a:ln>
              <a:noFill/>
            </a:ln>
            <a:effectLst>
              <a:outerShdw blurRad="292100" dist="139700" dir="2700000" algn="tl" rotWithShape="0">
                <a:srgbClr val="333333">
                  <a:alpha val="65000"/>
                </a:srgbClr>
              </a:outerShdw>
            </a:effectLst>
          </p:spPr>
        </p:pic>
        <p:pic>
          <p:nvPicPr>
            <p:cNvPr id="43" name="Imagen 42">
              <a:extLst>
                <a:ext uri="{FF2B5EF4-FFF2-40B4-BE49-F238E27FC236}">
                  <a16:creationId xmlns:a16="http://schemas.microsoft.com/office/drawing/2014/main" id="{C11323F0-A480-46CF-88AE-E8C7E5945CDD}"/>
                </a:ext>
              </a:extLst>
            </p:cNvPr>
            <p:cNvPicPr>
              <a:picLocks noChangeAspect="1"/>
            </p:cNvPicPr>
            <p:nvPr/>
          </p:nvPicPr>
          <p:blipFill>
            <a:blip r:embed="rId5"/>
            <a:stretch>
              <a:fillRect/>
            </a:stretch>
          </p:blipFill>
          <p:spPr>
            <a:xfrm>
              <a:off x="2946922" y="2402373"/>
              <a:ext cx="2504455" cy="1831489"/>
            </a:xfrm>
            <a:prstGeom prst="rect">
              <a:avLst/>
            </a:prstGeom>
            <a:ln>
              <a:noFill/>
            </a:ln>
            <a:effectLst>
              <a:outerShdw blurRad="292100" dist="139700" dir="2700000" algn="tl" rotWithShape="0">
                <a:srgbClr val="333333">
                  <a:alpha val="65000"/>
                </a:srgbClr>
              </a:outerShdw>
            </a:effectLst>
          </p:spPr>
        </p:pic>
        <p:pic>
          <p:nvPicPr>
            <p:cNvPr id="26" name="Imagen 25">
              <a:extLst>
                <a:ext uri="{FF2B5EF4-FFF2-40B4-BE49-F238E27FC236}">
                  <a16:creationId xmlns:a16="http://schemas.microsoft.com/office/drawing/2014/main" id="{F29FECCA-E803-497A-9A5B-71D46903BA50}"/>
                </a:ext>
              </a:extLst>
            </p:cNvPr>
            <p:cNvPicPr>
              <a:picLocks noChangeAspect="1"/>
            </p:cNvPicPr>
            <p:nvPr/>
          </p:nvPicPr>
          <p:blipFill>
            <a:blip r:embed="rId6"/>
            <a:stretch>
              <a:fillRect/>
            </a:stretch>
          </p:blipFill>
          <p:spPr>
            <a:xfrm>
              <a:off x="4580445" y="4356447"/>
              <a:ext cx="3729177" cy="2132010"/>
            </a:xfrm>
            <a:prstGeom prst="rect">
              <a:avLst/>
            </a:prstGeom>
            <a:ln>
              <a:noFill/>
            </a:ln>
            <a:effectLst>
              <a:outerShdw blurRad="292100" dist="139700" dir="2700000" algn="tl" rotWithShape="0">
                <a:srgbClr val="333333">
                  <a:alpha val="65000"/>
                </a:srgbClr>
              </a:outerShdw>
            </a:effectLst>
          </p:spPr>
        </p:pic>
      </p:grpSp>
      <p:pic>
        <p:nvPicPr>
          <p:cNvPr id="39" name="Imagen 38" descr="Icono&#10;&#10;Descripción generada automáticamente">
            <a:extLst>
              <a:ext uri="{FF2B5EF4-FFF2-40B4-BE49-F238E27FC236}">
                <a16:creationId xmlns:a16="http://schemas.microsoft.com/office/drawing/2014/main" id="{C8D609A4-0E15-4EE2-B3E4-D5872099F11F}"/>
              </a:ext>
            </a:extLst>
          </p:cNvPr>
          <p:cNvPicPr>
            <a:picLocks noChangeAspect="1"/>
          </p:cNvPicPr>
          <p:nvPr/>
        </p:nvPicPr>
        <p:blipFill rotWithShape="1">
          <a:blip r:embed="rId7"/>
          <a:srcRect t="28145" r="28786"/>
          <a:stretch/>
        </p:blipFill>
        <p:spPr>
          <a:xfrm>
            <a:off x="-963325" y="3459773"/>
            <a:ext cx="4217497" cy="4255426"/>
          </a:xfrm>
          <a:prstGeom prst="rect">
            <a:avLst/>
          </a:prstGeom>
        </p:spPr>
      </p:pic>
      <p:pic>
        <p:nvPicPr>
          <p:cNvPr id="44" name="Picture 9810">
            <a:extLst>
              <a:ext uri="{FF2B5EF4-FFF2-40B4-BE49-F238E27FC236}">
                <a16:creationId xmlns:a16="http://schemas.microsoft.com/office/drawing/2014/main" id="{AEC63F1C-CF26-46EF-A4DE-756B4984BF2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940346" y="1389470"/>
            <a:ext cx="687966" cy="687966"/>
          </a:xfrm>
          <a:prstGeom prst="rect">
            <a:avLst/>
          </a:prstGeom>
        </p:spPr>
      </p:pic>
      <p:pic>
        <p:nvPicPr>
          <p:cNvPr id="45" name="Picture 102953">
            <a:extLst>
              <a:ext uri="{FF2B5EF4-FFF2-40B4-BE49-F238E27FC236}">
                <a16:creationId xmlns:a16="http://schemas.microsoft.com/office/drawing/2014/main" id="{65C41D88-F252-4D78-9EB4-5CE0439B9AE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973886" y="2576662"/>
            <a:ext cx="649032" cy="651255"/>
          </a:xfrm>
          <a:prstGeom prst="rect">
            <a:avLst/>
          </a:prstGeom>
        </p:spPr>
      </p:pic>
      <p:pic>
        <p:nvPicPr>
          <p:cNvPr id="46" name="Picture 102957">
            <a:extLst>
              <a:ext uri="{FF2B5EF4-FFF2-40B4-BE49-F238E27FC236}">
                <a16:creationId xmlns:a16="http://schemas.microsoft.com/office/drawing/2014/main" id="{2E3BF955-B46C-4372-BAF8-C5C99BB6C51A}"/>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989437" y="3961014"/>
            <a:ext cx="770874" cy="770874"/>
          </a:xfrm>
          <a:prstGeom prst="rect">
            <a:avLst/>
          </a:prstGeom>
        </p:spPr>
      </p:pic>
      <p:pic>
        <p:nvPicPr>
          <p:cNvPr id="7" name="Imagen 6" descr="Icono&#10;&#10;Descripción generada automáticamente">
            <a:extLst>
              <a:ext uri="{FF2B5EF4-FFF2-40B4-BE49-F238E27FC236}">
                <a16:creationId xmlns:a16="http://schemas.microsoft.com/office/drawing/2014/main" id="{CDBB5E90-51E5-43FC-8885-183C3930DD62}"/>
              </a:ext>
            </a:extLst>
          </p:cNvPr>
          <p:cNvPicPr>
            <a:picLocks noChangeAspect="1"/>
          </p:cNvPicPr>
          <p:nvPr/>
        </p:nvPicPr>
        <p:blipFill>
          <a:blip r:embed="rId11"/>
          <a:stretch>
            <a:fillRect/>
          </a:stretch>
        </p:blipFill>
        <p:spPr>
          <a:xfrm>
            <a:off x="6378629" y="1314224"/>
            <a:ext cx="1920759" cy="912679"/>
          </a:xfrm>
          <a:prstGeom prst="rect">
            <a:avLst/>
          </a:prstGeom>
        </p:spPr>
      </p:pic>
    </p:spTree>
    <p:extLst>
      <p:ext uri="{BB962C8B-B14F-4D97-AF65-F5344CB8AC3E}">
        <p14:creationId xmlns:p14="http://schemas.microsoft.com/office/powerpoint/2010/main" val="15237276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Freeform 11">
            <a:extLst>
              <a:ext uri="{FF2B5EF4-FFF2-40B4-BE49-F238E27FC236}">
                <a16:creationId xmlns:a16="http://schemas.microsoft.com/office/drawing/2014/main" id="{989FAB72-E17B-0D41-A6AE-3BB44413317B}"/>
              </a:ext>
            </a:extLst>
          </p:cNvPr>
          <p:cNvSpPr/>
          <p:nvPr/>
        </p:nvSpPr>
        <p:spPr>
          <a:xfrm>
            <a:off x="0" y="3532094"/>
            <a:ext cx="8520984" cy="3325906"/>
          </a:xfrm>
          <a:custGeom>
            <a:avLst/>
            <a:gdLst>
              <a:gd name="connsiteX0" fmla="*/ 4395998 w 7237505"/>
              <a:gd name="connsiteY0" fmla="*/ 58 h 4933262"/>
              <a:gd name="connsiteX1" fmla="*/ 7233138 w 7237505"/>
              <a:gd name="connsiteY1" fmla="*/ 4903565 h 4933262"/>
              <a:gd name="connsiteX2" fmla="*/ 7237505 w 7237505"/>
              <a:gd name="connsiteY2" fmla="*/ 4933262 h 4933262"/>
              <a:gd name="connsiteX3" fmla="*/ 0 w 7237505"/>
              <a:gd name="connsiteY3" fmla="*/ 4933262 h 4933262"/>
              <a:gd name="connsiteX4" fmla="*/ 0 w 7237505"/>
              <a:gd name="connsiteY4" fmla="*/ 1491292 h 4933262"/>
              <a:gd name="connsiteX5" fmla="*/ 148016 w 7237505"/>
              <a:gd name="connsiteY5" fmla="*/ 1437398 h 4933262"/>
              <a:gd name="connsiteX6" fmla="*/ 3756131 w 7237505"/>
              <a:gd name="connsiteY6" fmla="*/ 123640 h 4933262"/>
              <a:gd name="connsiteX7" fmla="*/ 4395998 w 7237505"/>
              <a:gd name="connsiteY7" fmla="*/ 58 h 4933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37505" h="4933262">
                <a:moveTo>
                  <a:pt x="4395998" y="58"/>
                </a:moveTo>
                <a:cubicBezTo>
                  <a:pt x="6238787" y="-15730"/>
                  <a:pt x="6966936" y="3156975"/>
                  <a:pt x="7233138" y="4903565"/>
                </a:cubicBezTo>
                <a:lnTo>
                  <a:pt x="7237505" y="4933262"/>
                </a:lnTo>
                <a:lnTo>
                  <a:pt x="0" y="4933262"/>
                </a:lnTo>
                <a:lnTo>
                  <a:pt x="0" y="1491292"/>
                </a:lnTo>
                <a:lnTo>
                  <a:pt x="148016" y="1437398"/>
                </a:lnTo>
                <a:cubicBezTo>
                  <a:pt x="1090161" y="1094352"/>
                  <a:pt x="2272461" y="663862"/>
                  <a:pt x="3756131" y="123640"/>
                </a:cubicBezTo>
                <a:cubicBezTo>
                  <a:pt x="3983091" y="41001"/>
                  <a:pt x="4196102" y="1771"/>
                  <a:pt x="4395998" y="58"/>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a:ea typeface="+mn-ea"/>
              <a:cs typeface="+mn-cs"/>
            </a:endParaRPr>
          </a:p>
        </p:txBody>
      </p:sp>
      <p:sp>
        <p:nvSpPr>
          <p:cNvPr id="6" name="Título 5">
            <a:extLst>
              <a:ext uri="{FF2B5EF4-FFF2-40B4-BE49-F238E27FC236}">
                <a16:creationId xmlns:a16="http://schemas.microsoft.com/office/drawing/2014/main" id="{6544D870-628D-8A4C-800B-C2769A7BB13F}"/>
              </a:ext>
            </a:extLst>
          </p:cNvPr>
          <p:cNvSpPr>
            <a:spLocks noGrp="1"/>
          </p:cNvSpPr>
          <p:nvPr>
            <p:ph type="title"/>
          </p:nvPr>
        </p:nvSpPr>
        <p:spPr>
          <a:xfrm>
            <a:off x="664661" y="519147"/>
            <a:ext cx="2481861" cy="2312508"/>
          </a:xfrm>
        </p:spPr>
        <p:txBody>
          <a:bodyPr>
            <a:noAutofit/>
          </a:bodyPr>
          <a:lstStyle/>
          <a:p>
            <a:r>
              <a:rPr lang="en-US"/>
              <a:t>CognitiveQA for Smart testing</a:t>
            </a:r>
          </a:p>
        </p:txBody>
      </p:sp>
      <p:sp>
        <p:nvSpPr>
          <p:cNvPr id="12" name="CuadroTexto 11">
            <a:extLst>
              <a:ext uri="{FF2B5EF4-FFF2-40B4-BE49-F238E27FC236}">
                <a16:creationId xmlns:a16="http://schemas.microsoft.com/office/drawing/2014/main" id="{97D825F2-DEBF-D247-86B7-976BCD7FEEE0}"/>
              </a:ext>
            </a:extLst>
          </p:cNvPr>
          <p:cNvSpPr txBox="1"/>
          <p:nvPr/>
        </p:nvSpPr>
        <p:spPr>
          <a:xfrm>
            <a:off x="3600430" y="398606"/>
            <a:ext cx="6199701" cy="8771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12ABDB"/>
                </a:solidFill>
                <a:effectLst/>
                <a:uLnTx/>
                <a:uFillTx/>
                <a:latin typeface="Ubuntu" panose="020B0504030602030204" pitchFamily="34" charset="0"/>
                <a:ea typeface="+mn-ea"/>
                <a:cs typeface="+mn-cs"/>
              </a:rPr>
              <a:t>CognitiveQA automatically assists testing and QA activities and decisions through anticipation, smart analytics, intelligent insights and Artificial Intelligence based actions.</a:t>
            </a:r>
          </a:p>
        </p:txBody>
      </p:sp>
      <p:sp>
        <p:nvSpPr>
          <p:cNvPr id="31" name="CuadroTexto 30">
            <a:extLst>
              <a:ext uri="{FF2B5EF4-FFF2-40B4-BE49-F238E27FC236}">
                <a16:creationId xmlns:a16="http://schemas.microsoft.com/office/drawing/2014/main" id="{6B28FF72-4F40-2049-A944-4C1DFF421BCE}"/>
              </a:ext>
            </a:extLst>
          </p:cNvPr>
          <p:cNvSpPr txBox="1"/>
          <p:nvPr/>
        </p:nvSpPr>
        <p:spPr>
          <a:xfrm>
            <a:off x="3776747" y="2620036"/>
            <a:ext cx="404812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2B0A3D"/>
              </a:buClr>
              <a:buSzTx/>
              <a:buFontTx/>
              <a:buNone/>
              <a:tabLst/>
              <a:defRPr/>
            </a:pPr>
            <a:r>
              <a:rPr kumimoji="0" lang="en-US" sz="1200" b="0" i="0" u="none" strike="noStrike" kern="1200" cap="none" spc="0" normalizeH="0" baseline="0" noProof="0" dirty="0">
                <a:ln>
                  <a:noFill/>
                </a:ln>
                <a:effectLst/>
                <a:uLnTx/>
                <a:uFillTx/>
                <a:latin typeface="Ubuntu Light" panose="020B0304030602030204" pitchFamily="34" charset="0"/>
                <a:ea typeface="+mn-ea"/>
                <a:cs typeface="+mn-cs"/>
              </a:rPr>
              <a:t>“Know </a:t>
            </a:r>
            <a:r>
              <a:rPr kumimoji="0" lang="en-US" sz="1200" b="1" i="0" u="none" strike="noStrike" kern="1200" cap="none" spc="0" normalizeH="0" baseline="0" noProof="0" dirty="0">
                <a:ln>
                  <a:noFill/>
                </a:ln>
                <a:effectLst/>
                <a:uLnTx/>
                <a:uFillTx/>
                <a:latin typeface="Ubuntu Light" panose="020B0304030602030204" pitchFamily="34" charset="0"/>
                <a:ea typeface="+mn-ea"/>
                <a:cs typeface="+mn-cs"/>
              </a:rPr>
              <a:t>Wisey</a:t>
            </a:r>
            <a:r>
              <a:rPr kumimoji="0" lang="en-US" sz="1200" b="0" i="0" u="none" strike="noStrike" kern="1200" cap="none" spc="0" normalizeH="0" baseline="0" noProof="0" dirty="0">
                <a:ln>
                  <a:noFill/>
                </a:ln>
                <a:effectLst/>
                <a:uLnTx/>
                <a:uFillTx/>
                <a:latin typeface="Ubuntu Light" panose="020B0304030602030204" pitchFamily="34" charset="0"/>
                <a:ea typeface="+mn-ea"/>
                <a:cs typeface="+mn-cs"/>
              </a:rPr>
              <a:t>: See and do what others can’t see through your personal chatbot assistant for QA activities”</a:t>
            </a:r>
          </a:p>
        </p:txBody>
      </p:sp>
      <p:grpSp>
        <p:nvGrpSpPr>
          <p:cNvPr id="19" name="Grupo 18">
            <a:extLst>
              <a:ext uri="{FF2B5EF4-FFF2-40B4-BE49-F238E27FC236}">
                <a16:creationId xmlns:a16="http://schemas.microsoft.com/office/drawing/2014/main" id="{31363CAF-6F8A-9740-A8D3-A23E7600511D}"/>
              </a:ext>
            </a:extLst>
          </p:cNvPr>
          <p:cNvGrpSpPr/>
          <p:nvPr/>
        </p:nvGrpSpPr>
        <p:grpSpPr>
          <a:xfrm>
            <a:off x="8339482" y="1598539"/>
            <a:ext cx="3747116" cy="3867109"/>
            <a:chOff x="6019800" y="762000"/>
            <a:chExt cx="5638800" cy="5682368"/>
          </a:xfrm>
        </p:grpSpPr>
        <p:pic>
          <p:nvPicPr>
            <p:cNvPr id="50" name="Imagen 49">
              <a:extLst>
                <a:ext uri="{FF2B5EF4-FFF2-40B4-BE49-F238E27FC236}">
                  <a16:creationId xmlns:a16="http://schemas.microsoft.com/office/drawing/2014/main" id="{3AE95D73-FB53-F44E-8B45-B3773E2C02CE}"/>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6019800" y="762000"/>
              <a:ext cx="5638800" cy="5682368"/>
            </a:xfrm>
            <a:prstGeom prst="rect">
              <a:avLst/>
            </a:prstGeom>
          </p:spPr>
        </p:pic>
        <p:pic>
          <p:nvPicPr>
            <p:cNvPr id="51" name="Imagen 50">
              <a:extLst>
                <a:ext uri="{FF2B5EF4-FFF2-40B4-BE49-F238E27FC236}">
                  <a16:creationId xmlns:a16="http://schemas.microsoft.com/office/drawing/2014/main" id="{8A889FAF-92D2-E14B-BBEA-F65A7455E151}"/>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rot="20944613">
              <a:off x="10934040" y="2865842"/>
              <a:ext cx="462270" cy="439362"/>
            </a:xfrm>
            <a:prstGeom prst="rect">
              <a:avLst/>
            </a:prstGeom>
          </p:spPr>
        </p:pic>
        <p:pic>
          <p:nvPicPr>
            <p:cNvPr id="52" name="Imagen 51">
              <a:extLst>
                <a:ext uri="{FF2B5EF4-FFF2-40B4-BE49-F238E27FC236}">
                  <a16:creationId xmlns:a16="http://schemas.microsoft.com/office/drawing/2014/main" id="{53C9A12B-3E60-1144-9502-C9CE2ED9358B}"/>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rot="20944613">
              <a:off x="10934040" y="2546204"/>
              <a:ext cx="412244" cy="319638"/>
            </a:xfrm>
            <a:prstGeom prst="rect">
              <a:avLst/>
            </a:prstGeom>
          </p:spPr>
        </p:pic>
        <p:pic>
          <p:nvPicPr>
            <p:cNvPr id="53" name="Imagen 52">
              <a:extLst>
                <a:ext uri="{FF2B5EF4-FFF2-40B4-BE49-F238E27FC236}">
                  <a16:creationId xmlns:a16="http://schemas.microsoft.com/office/drawing/2014/main" id="{816E5769-4574-9E4F-A638-98E0BA61DD69}"/>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rot="20944613">
              <a:off x="10973977" y="2174052"/>
              <a:ext cx="332370" cy="274636"/>
            </a:xfrm>
            <a:prstGeom prst="rect">
              <a:avLst/>
            </a:prstGeom>
          </p:spPr>
        </p:pic>
        <p:pic>
          <p:nvPicPr>
            <p:cNvPr id="54" name="Imagen 53">
              <a:extLst>
                <a:ext uri="{FF2B5EF4-FFF2-40B4-BE49-F238E27FC236}">
                  <a16:creationId xmlns:a16="http://schemas.microsoft.com/office/drawing/2014/main" id="{73DE5706-E81B-E34E-9830-384C0E790E67}"/>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rot="20944613">
              <a:off x="10019641" y="5769219"/>
              <a:ext cx="462270" cy="439362"/>
            </a:xfrm>
            <a:prstGeom prst="rect">
              <a:avLst/>
            </a:prstGeom>
          </p:spPr>
        </p:pic>
      </p:grpSp>
      <p:sp>
        <p:nvSpPr>
          <p:cNvPr id="4" name="CuadroTexto 3">
            <a:extLst>
              <a:ext uri="{FF2B5EF4-FFF2-40B4-BE49-F238E27FC236}">
                <a16:creationId xmlns:a16="http://schemas.microsoft.com/office/drawing/2014/main" id="{D1B54BA1-4822-1A44-AC24-59101A8B2A7B}"/>
              </a:ext>
            </a:extLst>
          </p:cNvPr>
          <p:cNvSpPr txBox="1"/>
          <p:nvPr/>
        </p:nvSpPr>
        <p:spPr>
          <a:xfrm>
            <a:off x="4057465" y="4013830"/>
            <a:ext cx="2568090"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B0A3D"/>
                </a:solidFill>
                <a:effectLst/>
                <a:uLnTx/>
                <a:uFillTx/>
                <a:latin typeface="Ubuntu" panose="020B0504030602030204" pitchFamily="34" charset="0"/>
                <a:ea typeface="+mn-ea"/>
                <a:cs typeface="+mn-cs"/>
              </a:rPr>
              <a:t>“Which are the most important test cases to be executed with limited resources (effort, window execution time…)?</a:t>
            </a:r>
            <a:endParaRPr kumimoji="0" lang="en-US" sz="1800" b="0" i="0" u="none" strike="noStrike" kern="1200" cap="none" spc="0" normalizeH="0" baseline="0" noProof="0" dirty="0">
              <a:ln>
                <a:noFill/>
              </a:ln>
              <a:solidFill>
                <a:srgbClr val="2B0A3D"/>
              </a:solidFill>
              <a:effectLst/>
              <a:uLnTx/>
              <a:uFillTx/>
              <a:latin typeface="Verdana"/>
              <a:ea typeface="+mn-ea"/>
              <a:cs typeface="+mn-cs"/>
            </a:endParaRPr>
          </a:p>
        </p:txBody>
      </p:sp>
      <p:sp>
        <p:nvSpPr>
          <p:cNvPr id="18" name="CuadroTexto 17">
            <a:extLst>
              <a:ext uri="{FF2B5EF4-FFF2-40B4-BE49-F238E27FC236}">
                <a16:creationId xmlns:a16="http://schemas.microsoft.com/office/drawing/2014/main" id="{A33990B1-C1F3-F04C-8399-1F877516FDFD}"/>
              </a:ext>
            </a:extLst>
          </p:cNvPr>
          <p:cNvSpPr txBox="1"/>
          <p:nvPr/>
        </p:nvSpPr>
        <p:spPr>
          <a:xfrm>
            <a:off x="3600430" y="5068507"/>
            <a:ext cx="2116740" cy="110799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B0A3D"/>
                </a:solidFill>
                <a:effectLst/>
                <a:uLnTx/>
                <a:uFillTx/>
                <a:latin typeface="Ubuntu" panose="020B0504030602030204" pitchFamily="34" charset="0"/>
                <a:ea typeface="+mn-ea"/>
                <a:cs typeface="+mn-cs"/>
              </a:rPr>
              <a:t>“Which test cases need to be added to the manual/automated regression se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B0A3D"/>
              </a:solidFill>
              <a:effectLst/>
              <a:uLnTx/>
              <a:uFillTx/>
              <a:latin typeface="Verdana"/>
              <a:ea typeface="+mn-ea"/>
              <a:cs typeface="+mn-cs"/>
            </a:endParaRPr>
          </a:p>
        </p:txBody>
      </p:sp>
      <p:sp>
        <p:nvSpPr>
          <p:cNvPr id="20" name="CuadroTexto 19">
            <a:extLst>
              <a:ext uri="{FF2B5EF4-FFF2-40B4-BE49-F238E27FC236}">
                <a16:creationId xmlns:a16="http://schemas.microsoft.com/office/drawing/2014/main" id="{04C9D313-7AD8-DD42-B9CB-32FAAB138517}"/>
              </a:ext>
            </a:extLst>
          </p:cNvPr>
          <p:cNvSpPr txBox="1"/>
          <p:nvPr/>
        </p:nvSpPr>
        <p:spPr>
          <a:xfrm>
            <a:off x="5963620" y="5195047"/>
            <a:ext cx="1957040" cy="166199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B0A3D"/>
                </a:solidFill>
                <a:effectLst/>
                <a:uLnTx/>
                <a:uFillTx/>
                <a:latin typeface="Ubuntu" panose="020B0504030602030204" pitchFamily="34" charset="0"/>
                <a:ea typeface="+mn-ea"/>
                <a:cs typeface="+mn-cs"/>
              </a:rPr>
              <a:t>“May I compute descriptive and predictive metrics (estimated testing effort, expected time for fixing defect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B0A3D"/>
                </a:solidFill>
                <a:effectLst/>
                <a:uLnTx/>
                <a:uFillTx/>
                <a:latin typeface="Ubuntu" panose="020B0504030602030204" pitchFamily="34" charset="0"/>
                <a:ea typeface="+mn-ea"/>
                <a:cs typeface="+mn-cs"/>
              </a:rPr>
              <a:t>for anticip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B0A3D"/>
              </a:solidFill>
              <a:effectLst/>
              <a:uLnTx/>
              <a:uFillTx/>
              <a:latin typeface="Verdana"/>
              <a:ea typeface="+mn-ea"/>
              <a:cs typeface="+mn-cs"/>
            </a:endParaRPr>
          </a:p>
        </p:txBody>
      </p:sp>
      <p:sp>
        <p:nvSpPr>
          <p:cNvPr id="21" name="CuadroTexto 20">
            <a:extLst>
              <a:ext uri="{FF2B5EF4-FFF2-40B4-BE49-F238E27FC236}">
                <a16:creationId xmlns:a16="http://schemas.microsoft.com/office/drawing/2014/main" id="{A9FCFCFF-664B-BA4D-B64F-F9574B2504F0}"/>
              </a:ext>
            </a:extLst>
          </p:cNvPr>
          <p:cNvSpPr txBox="1"/>
          <p:nvPr/>
        </p:nvSpPr>
        <p:spPr>
          <a:xfrm>
            <a:off x="933593" y="5811365"/>
            <a:ext cx="1957040"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B0A3D"/>
                </a:solidFill>
                <a:effectLst/>
                <a:uLnTx/>
                <a:uFillTx/>
                <a:latin typeface="Ubuntu" panose="020B0504030602030204" pitchFamily="34" charset="0"/>
                <a:ea typeface="+mn-ea"/>
                <a:cs typeface="+mn-cs"/>
              </a:rPr>
              <a:t>“Are there potential duplicated defects or test cas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B0A3D"/>
              </a:solidFill>
              <a:effectLst/>
              <a:uLnTx/>
              <a:uFillTx/>
              <a:latin typeface="Verdana"/>
              <a:ea typeface="+mn-ea"/>
              <a:cs typeface="+mn-cs"/>
            </a:endParaRPr>
          </a:p>
        </p:txBody>
      </p:sp>
      <p:sp>
        <p:nvSpPr>
          <p:cNvPr id="22" name="CuadroTexto 21">
            <a:extLst>
              <a:ext uri="{FF2B5EF4-FFF2-40B4-BE49-F238E27FC236}">
                <a16:creationId xmlns:a16="http://schemas.microsoft.com/office/drawing/2014/main" id="{05085B7F-55C4-1946-B9E3-4602B150CC38}"/>
              </a:ext>
            </a:extLst>
          </p:cNvPr>
          <p:cNvSpPr txBox="1"/>
          <p:nvPr/>
        </p:nvSpPr>
        <p:spPr>
          <a:xfrm>
            <a:off x="3217451" y="6100320"/>
            <a:ext cx="2419350"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B0A3D"/>
                </a:solidFill>
                <a:effectLst/>
                <a:uLnTx/>
                <a:uFillTx/>
                <a:latin typeface="Ubuntu" panose="020B0504030602030204" pitchFamily="34" charset="0"/>
                <a:ea typeface="+mn-ea"/>
                <a:cs typeface="+mn-cs"/>
              </a:rPr>
              <a:t>“Could I automate the validation of text in imag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B0A3D"/>
              </a:solidFill>
              <a:effectLst/>
              <a:uLnTx/>
              <a:uFillTx/>
              <a:latin typeface="Verdana"/>
              <a:ea typeface="+mn-ea"/>
              <a:cs typeface="+mn-cs"/>
            </a:endParaRPr>
          </a:p>
        </p:txBody>
      </p:sp>
      <p:pic>
        <p:nvPicPr>
          <p:cNvPr id="23" name="Imagen 22" descr="Diagrama&#10;&#10;Descripción generada automáticamente">
            <a:extLst>
              <a:ext uri="{FF2B5EF4-FFF2-40B4-BE49-F238E27FC236}">
                <a16:creationId xmlns:a16="http://schemas.microsoft.com/office/drawing/2014/main" id="{C10D446B-B28B-4F8E-A683-BF91C434AAD1}"/>
              </a:ext>
            </a:extLst>
          </p:cNvPr>
          <p:cNvPicPr>
            <a:picLocks noChangeAspect="1"/>
          </p:cNvPicPr>
          <p:nvPr/>
        </p:nvPicPr>
        <p:blipFill>
          <a:blip r:embed="rId7"/>
          <a:stretch>
            <a:fillRect/>
          </a:stretch>
        </p:blipFill>
        <p:spPr>
          <a:xfrm>
            <a:off x="-311955" y="1342462"/>
            <a:ext cx="4240488" cy="4240488"/>
          </a:xfrm>
          <a:prstGeom prst="rect">
            <a:avLst/>
          </a:prstGeom>
        </p:spPr>
      </p:pic>
      <p:pic>
        <p:nvPicPr>
          <p:cNvPr id="3" name="Imagen 2" descr="Imagen que contiene firmar, señal, parada, parado&#10;&#10;Descripción generada automáticamente">
            <a:extLst>
              <a:ext uri="{FF2B5EF4-FFF2-40B4-BE49-F238E27FC236}">
                <a16:creationId xmlns:a16="http://schemas.microsoft.com/office/drawing/2014/main" id="{F9CC511D-3F2F-4818-BB0A-DFBAD79A0D59}"/>
              </a:ext>
            </a:extLst>
          </p:cNvPr>
          <p:cNvPicPr>
            <a:picLocks noChangeAspect="1"/>
          </p:cNvPicPr>
          <p:nvPr/>
        </p:nvPicPr>
        <p:blipFill>
          <a:blip r:embed="rId8"/>
          <a:stretch>
            <a:fillRect/>
          </a:stretch>
        </p:blipFill>
        <p:spPr>
          <a:xfrm>
            <a:off x="3776747" y="1578669"/>
            <a:ext cx="1992087" cy="946571"/>
          </a:xfrm>
          <a:prstGeom prst="rect">
            <a:avLst/>
          </a:prstGeom>
        </p:spPr>
      </p:pic>
    </p:spTree>
    <p:extLst>
      <p:ext uri="{BB962C8B-B14F-4D97-AF65-F5344CB8AC3E}">
        <p14:creationId xmlns:p14="http://schemas.microsoft.com/office/powerpoint/2010/main" val="18112260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Freeform 11">
            <a:extLst>
              <a:ext uri="{FF2B5EF4-FFF2-40B4-BE49-F238E27FC236}">
                <a16:creationId xmlns:a16="http://schemas.microsoft.com/office/drawing/2014/main" id="{989FAB72-E17B-0D41-A6AE-3BB44413317B}"/>
              </a:ext>
            </a:extLst>
          </p:cNvPr>
          <p:cNvSpPr/>
          <p:nvPr/>
        </p:nvSpPr>
        <p:spPr>
          <a:xfrm>
            <a:off x="0" y="3532094"/>
            <a:ext cx="8520984" cy="3325906"/>
          </a:xfrm>
          <a:custGeom>
            <a:avLst/>
            <a:gdLst>
              <a:gd name="connsiteX0" fmla="*/ 4395998 w 7237505"/>
              <a:gd name="connsiteY0" fmla="*/ 58 h 4933262"/>
              <a:gd name="connsiteX1" fmla="*/ 7233138 w 7237505"/>
              <a:gd name="connsiteY1" fmla="*/ 4903565 h 4933262"/>
              <a:gd name="connsiteX2" fmla="*/ 7237505 w 7237505"/>
              <a:gd name="connsiteY2" fmla="*/ 4933262 h 4933262"/>
              <a:gd name="connsiteX3" fmla="*/ 0 w 7237505"/>
              <a:gd name="connsiteY3" fmla="*/ 4933262 h 4933262"/>
              <a:gd name="connsiteX4" fmla="*/ 0 w 7237505"/>
              <a:gd name="connsiteY4" fmla="*/ 1491292 h 4933262"/>
              <a:gd name="connsiteX5" fmla="*/ 148016 w 7237505"/>
              <a:gd name="connsiteY5" fmla="*/ 1437398 h 4933262"/>
              <a:gd name="connsiteX6" fmla="*/ 3756131 w 7237505"/>
              <a:gd name="connsiteY6" fmla="*/ 123640 h 4933262"/>
              <a:gd name="connsiteX7" fmla="*/ 4395998 w 7237505"/>
              <a:gd name="connsiteY7" fmla="*/ 58 h 4933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37505" h="4933262">
                <a:moveTo>
                  <a:pt x="4395998" y="58"/>
                </a:moveTo>
                <a:cubicBezTo>
                  <a:pt x="6238787" y="-15730"/>
                  <a:pt x="6966936" y="3156975"/>
                  <a:pt x="7233138" y="4903565"/>
                </a:cubicBezTo>
                <a:lnTo>
                  <a:pt x="7237505" y="4933262"/>
                </a:lnTo>
                <a:lnTo>
                  <a:pt x="0" y="4933262"/>
                </a:lnTo>
                <a:lnTo>
                  <a:pt x="0" y="1491292"/>
                </a:lnTo>
                <a:lnTo>
                  <a:pt x="148016" y="1437398"/>
                </a:lnTo>
                <a:cubicBezTo>
                  <a:pt x="1090161" y="1094352"/>
                  <a:pt x="2272461" y="663862"/>
                  <a:pt x="3756131" y="123640"/>
                </a:cubicBezTo>
                <a:cubicBezTo>
                  <a:pt x="3983091" y="41001"/>
                  <a:pt x="4196102" y="1771"/>
                  <a:pt x="4395998" y="58"/>
                </a:cubicBezTo>
                <a:close/>
              </a:path>
            </a:pathLst>
          </a:cu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a:ea typeface="+mn-ea"/>
              <a:cs typeface="+mn-cs"/>
            </a:endParaRPr>
          </a:p>
        </p:txBody>
      </p:sp>
      <p:pic>
        <p:nvPicPr>
          <p:cNvPr id="27" name="Imagen 26">
            <a:extLst>
              <a:ext uri="{FF2B5EF4-FFF2-40B4-BE49-F238E27FC236}">
                <a16:creationId xmlns:a16="http://schemas.microsoft.com/office/drawing/2014/main" id="{2AC55F90-1754-C247-AA5E-829B3F7BEE2A}"/>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3295878" y="3210188"/>
            <a:ext cx="4455510" cy="2164288"/>
          </a:xfrm>
          <a:prstGeom prst="rect">
            <a:avLst/>
          </a:prstGeom>
          <a:ln>
            <a:noFill/>
          </a:ln>
          <a:effectLst>
            <a:outerShdw blurRad="292100" dist="139700" dir="2700000" algn="tl" rotWithShape="0">
              <a:srgbClr val="333333">
                <a:alpha val="65000"/>
              </a:srgbClr>
            </a:outerShdw>
          </a:effectLst>
        </p:spPr>
      </p:pic>
      <p:sp>
        <p:nvSpPr>
          <p:cNvPr id="12" name="CuadroTexto 11">
            <a:extLst>
              <a:ext uri="{FF2B5EF4-FFF2-40B4-BE49-F238E27FC236}">
                <a16:creationId xmlns:a16="http://schemas.microsoft.com/office/drawing/2014/main" id="{97D825F2-DEBF-D247-86B7-976BCD7FEEE0}"/>
              </a:ext>
            </a:extLst>
          </p:cNvPr>
          <p:cNvSpPr txBox="1"/>
          <p:nvPr/>
        </p:nvSpPr>
        <p:spPr>
          <a:xfrm>
            <a:off x="3647057" y="427226"/>
            <a:ext cx="3845680" cy="166199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a:ln>
                  <a:noFill/>
                </a:ln>
                <a:solidFill>
                  <a:srgbClr val="12ABDB"/>
                </a:solidFill>
                <a:effectLst/>
                <a:uLnTx/>
                <a:uFillTx/>
                <a:latin typeface="Ubuntu" panose="020B0504030602030204" pitchFamily="34" charset="0"/>
                <a:ea typeface="+mn-ea"/>
                <a:cs typeface="+mn-cs"/>
              </a:rPr>
              <a:t>Our Links Checker Spider </a:t>
            </a:r>
            <a:r>
              <a:rPr kumimoji="0" lang="en-US" sz="1700" b="1" i="0" u="none" strike="noStrike" kern="1200" cap="none" spc="0" normalizeH="0" baseline="0" noProof="0">
                <a:ln>
                  <a:noFill/>
                </a:ln>
                <a:solidFill>
                  <a:srgbClr val="12ABDB"/>
                </a:solidFill>
                <a:effectLst/>
                <a:uLnTx/>
                <a:uFillTx/>
                <a:latin typeface="Ubuntu" panose="020B0504030602030204" pitchFamily="34" charset="0"/>
                <a:ea typeface="+mn-ea"/>
                <a:cs typeface="+mn-cs"/>
              </a:rPr>
              <a:t>automatically explores a website and detect invalid links and invalid documents downloa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12ABDB"/>
              </a:solidFill>
              <a:effectLst/>
              <a:uLnTx/>
              <a:uFillTx/>
              <a:latin typeface="Ubuntu" panose="020B05040306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12ABDB"/>
              </a:solidFill>
              <a:effectLst/>
              <a:uLnTx/>
              <a:uFillTx/>
              <a:latin typeface="Ubuntu" panose="020B0504030602030204" pitchFamily="34" charset="0"/>
              <a:ea typeface="+mn-ea"/>
              <a:cs typeface="+mn-cs"/>
            </a:endParaRPr>
          </a:p>
        </p:txBody>
      </p:sp>
      <p:sp>
        <p:nvSpPr>
          <p:cNvPr id="31" name="CuadroTexto 30">
            <a:extLst>
              <a:ext uri="{FF2B5EF4-FFF2-40B4-BE49-F238E27FC236}">
                <a16:creationId xmlns:a16="http://schemas.microsoft.com/office/drawing/2014/main" id="{6B28FF72-4F40-2049-A944-4C1DFF421BCE}"/>
              </a:ext>
            </a:extLst>
          </p:cNvPr>
          <p:cNvSpPr txBox="1"/>
          <p:nvPr/>
        </p:nvSpPr>
        <p:spPr>
          <a:xfrm>
            <a:off x="3647057" y="1607008"/>
            <a:ext cx="3969984"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2B0A3D"/>
              </a:buClr>
              <a:buSzTx/>
              <a:buFontTx/>
              <a:buNone/>
              <a:tabLst/>
              <a:defRPr/>
            </a:pPr>
            <a:r>
              <a:rPr kumimoji="0" lang="en-US" sz="1600" b="0" i="0" u="none" strike="noStrike" kern="1200" cap="none" spc="0" normalizeH="0" baseline="0" noProof="0" dirty="0">
                <a:ln>
                  <a:noFill/>
                </a:ln>
                <a:effectLst/>
                <a:uLnTx/>
                <a:uFillTx/>
                <a:latin typeface="Ubuntu Light" panose="020B0304030602030204" pitchFamily="34" charset="0"/>
                <a:ea typeface="+mn-ea"/>
                <a:cs typeface="+mn-cs"/>
              </a:rPr>
              <a:t>“This spider demonstrates that navigation testing may be automatically replaced by a spider that checks the validity of hyperlinks recursively and linked files”.</a:t>
            </a:r>
            <a:endParaRPr kumimoji="0" lang="en-US" sz="1600" b="1" i="0" u="none" strike="noStrike" kern="1200" cap="none" spc="0" normalizeH="0" baseline="0" noProof="0" dirty="0">
              <a:ln>
                <a:noFill/>
              </a:ln>
              <a:effectLst/>
              <a:uLnTx/>
              <a:uFillTx/>
              <a:latin typeface="Ubuntu Light" panose="020B03040306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
                <a:srgbClr val="2B0A3D"/>
              </a:buClr>
              <a:buSzTx/>
              <a:buFontTx/>
              <a:buNone/>
              <a:tabLst/>
              <a:defRPr/>
            </a:pPr>
            <a:endParaRPr kumimoji="0" lang="en-US" sz="1600" b="0" i="0" u="none" strike="noStrike" kern="1200" cap="none" spc="0" normalizeH="0" baseline="0" noProof="0" dirty="0">
              <a:ln>
                <a:noFill/>
              </a:ln>
              <a:solidFill>
                <a:srgbClr val="000000"/>
              </a:solidFill>
              <a:effectLst/>
              <a:uLnTx/>
              <a:uFillTx/>
              <a:latin typeface="Ubuntu Light" panose="020B0304030602030204" pitchFamily="34" charset="0"/>
              <a:ea typeface="+mn-ea"/>
              <a:cs typeface="+mn-cs"/>
            </a:endParaRPr>
          </a:p>
        </p:txBody>
      </p:sp>
      <p:pic>
        <p:nvPicPr>
          <p:cNvPr id="3" name="Imagen 2">
            <a:extLst>
              <a:ext uri="{FF2B5EF4-FFF2-40B4-BE49-F238E27FC236}">
                <a16:creationId xmlns:a16="http://schemas.microsoft.com/office/drawing/2014/main" id="{2D73EC73-E563-8E42-8334-4F5889E9AD2F}"/>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360432" y="899879"/>
            <a:ext cx="4004193" cy="6006289"/>
          </a:xfrm>
          <a:prstGeom prst="rect">
            <a:avLst/>
          </a:prstGeom>
        </p:spPr>
      </p:pic>
      <p:sp>
        <p:nvSpPr>
          <p:cNvPr id="2" name="Título 1">
            <a:extLst>
              <a:ext uri="{FF2B5EF4-FFF2-40B4-BE49-F238E27FC236}">
                <a16:creationId xmlns:a16="http://schemas.microsoft.com/office/drawing/2014/main" id="{ECE6131C-AD37-1341-AF63-7F8A9E724C54}"/>
              </a:ext>
            </a:extLst>
          </p:cNvPr>
          <p:cNvSpPr>
            <a:spLocks noGrp="1"/>
          </p:cNvSpPr>
          <p:nvPr>
            <p:ph type="title"/>
          </p:nvPr>
        </p:nvSpPr>
        <p:spPr>
          <a:xfrm>
            <a:off x="664661" y="519147"/>
            <a:ext cx="2481861" cy="2312508"/>
          </a:xfrm>
        </p:spPr>
        <p:txBody>
          <a:bodyPr>
            <a:noAutofit/>
          </a:bodyPr>
          <a:lstStyle/>
          <a:p>
            <a:r>
              <a:rPr lang="en-US"/>
              <a:t>Sogeti’s Links Checker Spider</a:t>
            </a:r>
            <a:br>
              <a:rPr lang="en-US"/>
            </a:br>
            <a:endParaRPr lang="es-ES"/>
          </a:p>
        </p:txBody>
      </p:sp>
      <p:grpSp>
        <p:nvGrpSpPr>
          <p:cNvPr id="8" name="Grupo 7">
            <a:extLst>
              <a:ext uri="{FF2B5EF4-FFF2-40B4-BE49-F238E27FC236}">
                <a16:creationId xmlns:a16="http://schemas.microsoft.com/office/drawing/2014/main" id="{8D69B392-B4C7-4185-9D1F-995D15CFA076}"/>
              </a:ext>
            </a:extLst>
          </p:cNvPr>
          <p:cNvGrpSpPr/>
          <p:nvPr/>
        </p:nvGrpSpPr>
        <p:grpSpPr>
          <a:xfrm>
            <a:off x="8251923" y="1240559"/>
            <a:ext cx="3717615" cy="3640298"/>
            <a:chOff x="8098872" y="1184221"/>
            <a:chExt cx="4612695" cy="4516763"/>
          </a:xfrm>
        </p:grpSpPr>
        <p:sp>
          <p:nvSpPr>
            <p:cNvPr id="17" name="CuadroTexto 16">
              <a:extLst>
                <a:ext uri="{FF2B5EF4-FFF2-40B4-BE49-F238E27FC236}">
                  <a16:creationId xmlns:a16="http://schemas.microsoft.com/office/drawing/2014/main" id="{830FBD1D-35A2-5440-B0D5-28E5F52FF840}"/>
                </a:ext>
              </a:extLst>
            </p:cNvPr>
            <p:cNvSpPr txBox="1"/>
            <p:nvPr/>
          </p:nvSpPr>
          <p:spPr>
            <a:xfrm>
              <a:off x="9176169" y="1184221"/>
              <a:ext cx="3314941" cy="106926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2ABDB"/>
                  </a:solidFill>
                  <a:effectLst/>
                  <a:uLnTx/>
                  <a:uFillTx/>
                  <a:latin typeface="Ubuntu Light" panose="020B0304030602030204" pitchFamily="34" charset="0"/>
                  <a:ea typeface="+mn-ea"/>
                  <a:cs typeface="+mn-cs"/>
                </a:rPr>
                <a:t>Automatic spid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Ubuntu Light" panose="020B0304030602030204" pitchFamily="34" charset="0"/>
                  <a:ea typeface="+mn-ea"/>
                  <a:cs typeface="+mn-cs"/>
                </a:rPr>
                <a:t>Imagine the savings manual </a:t>
              </a:r>
              <a:r>
                <a:rPr kumimoji="0" lang="en-US" sz="1200" b="0" i="0" u="none" strike="noStrike" kern="1200" cap="none" spc="0" normalizeH="0" baseline="0" noProof="0" dirty="0">
                  <a:ln>
                    <a:noFill/>
                  </a:ln>
                  <a:effectLst/>
                  <a:uLnTx/>
                  <a:uFillTx/>
                  <a:latin typeface="Ubuntu Light" panose="020B0304030602030204" pitchFamily="34" charset="0"/>
                  <a:ea typeface="+mn-ea"/>
                  <a:cs typeface="+mn-cs"/>
                </a:rPr>
                <a:t>checking of links in websites with many content and hyperlinks.</a:t>
              </a:r>
            </a:p>
          </p:txBody>
        </p:sp>
        <p:sp>
          <p:nvSpPr>
            <p:cNvPr id="16" name="CuadroTexto 15">
              <a:extLst>
                <a:ext uri="{FF2B5EF4-FFF2-40B4-BE49-F238E27FC236}">
                  <a16:creationId xmlns:a16="http://schemas.microsoft.com/office/drawing/2014/main" id="{08F17054-BA4F-1744-8C68-82BE4F7680F1}"/>
                </a:ext>
              </a:extLst>
            </p:cNvPr>
            <p:cNvSpPr txBox="1"/>
            <p:nvPr/>
          </p:nvSpPr>
          <p:spPr>
            <a:xfrm>
              <a:off x="9176169" y="2384551"/>
              <a:ext cx="3364209" cy="84013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2ABDB"/>
                  </a:solidFill>
                  <a:effectLst/>
                  <a:uLnTx/>
                  <a:uFillTx/>
                  <a:latin typeface="Ubuntu Light" panose="020B0304030602030204" pitchFamily="34" charset="0"/>
                  <a:ea typeface="+mn-ea"/>
                  <a:cs typeface="+mn-cs"/>
                </a:rPr>
                <a:t>Different options and leve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Ubuntu Light" panose="020B0304030602030204" pitchFamily="34" charset="0"/>
                  <a:ea typeface="+mn-ea"/>
                  <a:cs typeface="+mn-cs"/>
                </a:rPr>
                <a:t>Personalize </a:t>
              </a:r>
              <a:r>
                <a:rPr kumimoji="0" lang="en-US" sz="1200" b="0" i="0" u="none" strike="noStrike" kern="1200" cap="none" spc="0" normalizeH="0" baseline="0" noProof="0" dirty="0">
                  <a:ln>
                    <a:noFill/>
                  </a:ln>
                  <a:effectLst/>
                  <a:uLnTx/>
                  <a:uFillTx/>
                  <a:latin typeface="Ubuntu Light" panose="020B0304030602030204" pitchFamily="34" charset="0"/>
                  <a:ea typeface="+mn-ea"/>
                  <a:cs typeface="+mn-cs"/>
                </a:rPr>
                <a:t>the number of recursive test cases and subdomains.</a:t>
              </a:r>
            </a:p>
          </p:txBody>
        </p:sp>
        <p:sp>
          <p:nvSpPr>
            <p:cNvPr id="18" name="CuadroTexto 17">
              <a:extLst>
                <a:ext uri="{FF2B5EF4-FFF2-40B4-BE49-F238E27FC236}">
                  <a16:creationId xmlns:a16="http://schemas.microsoft.com/office/drawing/2014/main" id="{62FE1808-B7A5-9347-BC53-95D48E9B2D4F}"/>
                </a:ext>
              </a:extLst>
            </p:cNvPr>
            <p:cNvSpPr txBox="1"/>
            <p:nvPr/>
          </p:nvSpPr>
          <p:spPr>
            <a:xfrm>
              <a:off x="9225434" y="3623985"/>
              <a:ext cx="3486133" cy="8783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2ABDB"/>
                  </a:solidFill>
                  <a:effectLst/>
                  <a:uLnTx/>
                  <a:uFillTx/>
                  <a:latin typeface="Ubuntu Light" panose="020B0304030602030204" pitchFamily="34" charset="0"/>
                  <a:ea typeface="+mn-ea"/>
                  <a:cs typeface="+mn-cs"/>
                </a:rPr>
                <a:t>Automatic and online reporting of defec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Ubuntu Light" panose="020B0304030602030204" pitchFamily="34" charset="0"/>
                  <a:ea typeface="+mn-ea"/>
                  <a:cs typeface="+mn-cs"/>
                </a:rPr>
                <a:t>Detect </a:t>
              </a:r>
              <a:r>
                <a:rPr kumimoji="0" lang="en-US" sz="1200" b="0" i="0" u="none" strike="noStrike" kern="1200" cap="none" spc="0" normalizeH="0" baseline="0" noProof="0" dirty="0">
                  <a:ln>
                    <a:noFill/>
                  </a:ln>
                  <a:effectLst/>
                  <a:uLnTx/>
                  <a:uFillTx/>
                  <a:latin typeface="Ubuntu Light" panose="020B0304030602030204" pitchFamily="34" charset="0"/>
                  <a:ea typeface="+mn-ea"/>
                  <a:cs typeface="+mn-cs"/>
                </a:rPr>
                <a:t>invalid</a:t>
              </a:r>
              <a:r>
                <a:rPr kumimoji="0" lang="en-US" sz="1200" b="1" i="0" u="none" strike="noStrike" kern="1200" cap="none" spc="0" normalizeH="0" baseline="0" noProof="0" dirty="0">
                  <a:ln>
                    <a:noFill/>
                  </a:ln>
                  <a:effectLst/>
                  <a:uLnTx/>
                  <a:uFillTx/>
                  <a:latin typeface="Ubuntu Light" panose="020B0304030602030204" pitchFamily="34" charset="0"/>
                  <a:ea typeface="+mn-ea"/>
                  <a:cs typeface="+mn-cs"/>
                </a:rPr>
                <a:t> </a:t>
              </a:r>
              <a:r>
                <a:rPr kumimoji="0" lang="en-US" sz="1200" b="0" i="0" u="none" strike="noStrike" kern="1200" cap="none" spc="0" normalizeH="0" baseline="0" noProof="0" dirty="0">
                  <a:ln>
                    <a:noFill/>
                  </a:ln>
                  <a:effectLst/>
                  <a:uLnTx/>
                  <a:uFillTx/>
                  <a:latin typeface="Ubuntu Light" panose="020B0304030602030204" pitchFamily="34" charset="0"/>
                  <a:ea typeface="+mn-ea"/>
                  <a:cs typeface="+mn-cs"/>
                </a:rPr>
                <a:t>links and files.</a:t>
              </a:r>
            </a:p>
          </p:txBody>
        </p:sp>
        <p:grpSp>
          <p:nvGrpSpPr>
            <p:cNvPr id="6" name="Group 5">
              <a:extLst>
                <a:ext uri="{FF2B5EF4-FFF2-40B4-BE49-F238E27FC236}">
                  <a16:creationId xmlns:a16="http://schemas.microsoft.com/office/drawing/2014/main" id="{8CCFB97F-210E-473B-9B11-A4BCCF7C99F3}"/>
                </a:ext>
              </a:extLst>
            </p:cNvPr>
            <p:cNvGrpSpPr/>
            <p:nvPr/>
          </p:nvGrpSpPr>
          <p:grpSpPr>
            <a:xfrm>
              <a:off x="8098872" y="1212469"/>
              <a:ext cx="968420" cy="912603"/>
              <a:chOff x="8098872" y="1212469"/>
              <a:chExt cx="968420" cy="912603"/>
            </a:xfrm>
          </p:grpSpPr>
          <p:sp>
            <p:nvSpPr>
              <p:cNvPr id="20" name="Freeform 9635">
                <a:extLst>
                  <a:ext uri="{FF2B5EF4-FFF2-40B4-BE49-F238E27FC236}">
                    <a16:creationId xmlns:a16="http://schemas.microsoft.com/office/drawing/2014/main" id="{6E2D5067-C6B5-BF47-B026-5027347F9C57}"/>
                  </a:ext>
                </a:extLst>
              </p:cNvPr>
              <p:cNvSpPr>
                <a:spLocks noChangeAspect="1"/>
              </p:cNvSpPr>
              <p:nvPr/>
            </p:nvSpPr>
            <p:spPr bwMode="auto">
              <a:xfrm>
                <a:off x="8098872" y="1214974"/>
                <a:ext cx="968420" cy="910098"/>
              </a:xfrm>
              <a:custGeom>
                <a:avLst/>
                <a:gdLst>
                  <a:gd name="T0" fmla="*/ 43 w 301"/>
                  <a:gd name="T1" fmla="*/ 219 h 281"/>
                  <a:gd name="T2" fmla="*/ 72 w 301"/>
                  <a:gd name="T3" fmla="*/ 42 h 281"/>
                  <a:gd name="T4" fmla="*/ 257 w 301"/>
                  <a:gd name="T5" fmla="*/ 68 h 281"/>
                  <a:gd name="T6" fmla="*/ 224 w 301"/>
                  <a:gd name="T7" fmla="*/ 239 h 281"/>
                  <a:gd name="T8" fmla="*/ 43 w 301"/>
                  <a:gd name="T9" fmla="*/ 219 h 281"/>
                </a:gdLst>
                <a:ahLst/>
                <a:cxnLst>
                  <a:cxn ang="0">
                    <a:pos x="T0" y="T1"/>
                  </a:cxn>
                  <a:cxn ang="0">
                    <a:pos x="T2" y="T3"/>
                  </a:cxn>
                  <a:cxn ang="0">
                    <a:pos x="T4" y="T5"/>
                  </a:cxn>
                  <a:cxn ang="0">
                    <a:pos x="T6" y="T7"/>
                  </a:cxn>
                  <a:cxn ang="0">
                    <a:pos x="T8" y="T9"/>
                  </a:cxn>
                </a:cxnLst>
                <a:rect l="0" t="0" r="r" b="b"/>
                <a:pathLst>
                  <a:path w="301" h="281">
                    <a:moveTo>
                      <a:pt x="43" y="219"/>
                    </a:moveTo>
                    <a:cubicBezTo>
                      <a:pt x="0" y="163"/>
                      <a:pt x="13" y="83"/>
                      <a:pt x="72" y="42"/>
                    </a:cubicBezTo>
                    <a:cubicBezTo>
                      <a:pt x="131" y="0"/>
                      <a:pt x="214" y="12"/>
                      <a:pt x="257" y="68"/>
                    </a:cubicBezTo>
                    <a:cubicBezTo>
                      <a:pt x="301" y="124"/>
                      <a:pt x="283" y="197"/>
                      <a:pt x="224" y="239"/>
                    </a:cubicBezTo>
                    <a:cubicBezTo>
                      <a:pt x="165" y="281"/>
                      <a:pt x="87" y="276"/>
                      <a:pt x="43" y="219"/>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Verdana"/>
                  <a:ea typeface="+mn-ea"/>
                  <a:cs typeface="+mn-cs"/>
                </a:endParaRPr>
              </a:p>
            </p:txBody>
          </p:sp>
          <p:pic>
            <p:nvPicPr>
              <p:cNvPr id="21" name="Picture 5">
                <a:extLst>
                  <a:ext uri="{FF2B5EF4-FFF2-40B4-BE49-F238E27FC236}">
                    <a16:creationId xmlns:a16="http://schemas.microsoft.com/office/drawing/2014/main" id="{FF0ADC28-90F9-5E42-8C50-A533F004CE1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158800" y="1212469"/>
                <a:ext cx="893066" cy="890018"/>
              </a:xfrm>
              <a:prstGeom prst="rect">
                <a:avLst/>
              </a:prstGeom>
            </p:spPr>
          </p:pic>
        </p:grpSp>
        <p:grpSp>
          <p:nvGrpSpPr>
            <p:cNvPr id="7" name="Group 6">
              <a:extLst>
                <a:ext uri="{FF2B5EF4-FFF2-40B4-BE49-F238E27FC236}">
                  <a16:creationId xmlns:a16="http://schemas.microsoft.com/office/drawing/2014/main" id="{3122005B-BBBE-4E1B-A58A-2492AA601ECD}"/>
                </a:ext>
              </a:extLst>
            </p:cNvPr>
            <p:cNvGrpSpPr/>
            <p:nvPr/>
          </p:nvGrpSpPr>
          <p:grpSpPr>
            <a:xfrm>
              <a:off x="8100287" y="2384550"/>
              <a:ext cx="967005" cy="920571"/>
              <a:chOff x="8100287" y="2659743"/>
              <a:chExt cx="967005" cy="920571"/>
            </a:xfrm>
          </p:grpSpPr>
          <p:sp>
            <p:nvSpPr>
              <p:cNvPr id="22" name="Freeform 9634">
                <a:extLst>
                  <a:ext uri="{FF2B5EF4-FFF2-40B4-BE49-F238E27FC236}">
                    <a16:creationId xmlns:a16="http://schemas.microsoft.com/office/drawing/2014/main" id="{7D20C282-3036-394E-9B1E-84EE2FB44C1F}"/>
                  </a:ext>
                </a:extLst>
              </p:cNvPr>
              <p:cNvSpPr>
                <a:spLocks noChangeAspect="1"/>
              </p:cNvSpPr>
              <p:nvPr/>
            </p:nvSpPr>
            <p:spPr bwMode="auto">
              <a:xfrm>
                <a:off x="8100287" y="2667711"/>
                <a:ext cx="967005" cy="912603"/>
              </a:xfrm>
              <a:custGeom>
                <a:avLst/>
                <a:gdLst>
                  <a:gd name="T0" fmla="*/ 43 w 300"/>
                  <a:gd name="T1" fmla="*/ 219 h 281"/>
                  <a:gd name="T2" fmla="*/ 72 w 300"/>
                  <a:gd name="T3" fmla="*/ 42 h 281"/>
                  <a:gd name="T4" fmla="*/ 257 w 300"/>
                  <a:gd name="T5" fmla="*/ 68 h 281"/>
                  <a:gd name="T6" fmla="*/ 223 w 300"/>
                  <a:gd name="T7" fmla="*/ 239 h 281"/>
                  <a:gd name="T8" fmla="*/ 43 w 300"/>
                  <a:gd name="T9" fmla="*/ 219 h 281"/>
                </a:gdLst>
                <a:ahLst/>
                <a:cxnLst>
                  <a:cxn ang="0">
                    <a:pos x="T0" y="T1"/>
                  </a:cxn>
                  <a:cxn ang="0">
                    <a:pos x="T2" y="T3"/>
                  </a:cxn>
                  <a:cxn ang="0">
                    <a:pos x="T4" y="T5"/>
                  </a:cxn>
                  <a:cxn ang="0">
                    <a:pos x="T6" y="T7"/>
                  </a:cxn>
                  <a:cxn ang="0">
                    <a:pos x="T8" y="T9"/>
                  </a:cxn>
                </a:cxnLst>
                <a:rect l="0" t="0" r="r" b="b"/>
                <a:pathLst>
                  <a:path w="300" h="281">
                    <a:moveTo>
                      <a:pt x="43" y="219"/>
                    </a:moveTo>
                    <a:cubicBezTo>
                      <a:pt x="0" y="163"/>
                      <a:pt x="12" y="83"/>
                      <a:pt x="72" y="42"/>
                    </a:cubicBezTo>
                    <a:cubicBezTo>
                      <a:pt x="131" y="0"/>
                      <a:pt x="214" y="12"/>
                      <a:pt x="257" y="68"/>
                    </a:cubicBezTo>
                    <a:cubicBezTo>
                      <a:pt x="300" y="124"/>
                      <a:pt x="282" y="197"/>
                      <a:pt x="223" y="239"/>
                    </a:cubicBezTo>
                    <a:cubicBezTo>
                      <a:pt x="164" y="281"/>
                      <a:pt x="86" y="276"/>
                      <a:pt x="43" y="219"/>
                    </a:cubicBezTo>
                  </a:path>
                </a:pathLst>
              </a:custGeom>
              <a:solidFill>
                <a:srgbClr val="2B143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Verdana"/>
                  <a:ea typeface="+mn-ea"/>
                  <a:cs typeface="+mn-cs"/>
                </a:endParaRPr>
              </a:p>
            </p:txBody>
          </p:sp>
          <p:pic>
            <p:nvPicPr>
              <p:cNvPr id="23" name="Picture 108076">
                <a:extLst>
                  <a:ext uri="{FF2B5EF4-FFF2-40B4-BE49-F238E27FC236}">
                    <a16:creationId xmlns:a16="http://schemas.microsoft.com/office/drawing/2014/main" id="{70DFC19F-8805-5948-AA6F-CE4927F1189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117386" y="2659743"/>
                <a:ext cx="893066" cy="893066"/>
              </a:xfrm>
              <a:prstGeom prst="rect">
                <a:avLst/>
              </a:prstGeom>
            </p:spPr>
          </p:pic>
        </p:grpSp>
        <p:grpSp>
          <p:nvGrpSpPr>
            <p:cNvPr id="4" name="Group 3">
              <a:extLst>
                <a:ext uri="{FF2B5EF4-FFF2-40B4-BE49-F238E27FC236}">
                  <a16:creationId xmlns:a16="http://schemas.microsoft.com/office/drawing/2014/main" id="{AD5DD197-4543-43BD-8B44-BFCA71A26F7B}"/>
                </a:ext>
              </a:extLst>
            </p:cNvPr>
            <p:cNvGrpSpPr/>
            <p:nvPr/>
          </p:nvGrpSpPr>
          <p:grpSpPr>
            <a:xfrm>
              <a:off x="8098872" y="3584089"/>
              <a:ext cx="968365" cy="918207"/>
              <a:chOff x="8104902" y="4137923"/>
              <a:chExt cx="968365" cy="918207"/>
            </a:xfrm>
          </p:grpSpPr>
          <p:sp>
            <p:nvSpPr>
              <p:cNvPr id="24" name="Freeform 9633">
                <a:extLst>
                  <a:ext uri="{FF2B5EF4-FFF2-40B4-BE49-F238E27FC236}">
                    <a16:creationId xmlns:a16="http://schemas.microsoft.com/office/drawing/2014/main" id="{E3F78F5C-4464-9749-8D0B-52C2CD3ACD17}"/>
                  </a:ext>
                </a:extLst>
              </p:cNvPr>
              <p:cNvSpPr>
                <a:spLocks noChangeAspect="1"/>
              </p:cNvSpPr>
              <p:nvPr/>
            </p:nvSpPr>
            <p:spPr bwMode="auto">
              <a:xfrm>
                <a:off x="8104902" y="4137923"/>
                <a:ext cx="968365" cy="912603"/>
              </a:xfrm>
              <a:custGeom>
                <a:avLst/>
                <a:gdLst>
                  <a:gd name="T0" fmla="*/ 43 w 300"/>
                  <a:gd name="T1" fmla="*/ 219 h 281"/>
                  <a:gd name="T2" fmla="*/ 72 w 300"/>
                  <a:gd name="T3" fmla="*/ 42 h 281"/>
                  <a:gd name="T4" fmla="*/ 257 w 300"/>
                  <a:gd name="T5" fmla="*/ 68 h 281"/>
                  <a:gd name="T6" fmla="*/ 224 w 300"/>
                  <a:gd name="T7" fmla="*/ 239 h 281"/>
                  <a:gd name="T8" fmla="*/ 43 w 300"/>
                  <a:gd name="T9" fmla="*/ 219 h 281"/>
                </a:gdLst>
                <a:ahLst/>
                <a:cxnLst>
                  <a:cxn ang="0">
                    <a:pos x="T0" y="T1"/>
                  </a:cxn>
                  <a:cxn ang="0">
                    <a:pos x="T2" y="T3"/>
                  </a:cxn>
                  <a:cxn ang="0">
                    <a:pos x="T4" y="T5"/>
                  </a:cxn>
                  <a:cxn ang="0">
                    <a:pos x="T6" y="T7"/>
                  </a:cxn>
                  <a:cxn ang="0">
                    <a:pos x="T8" y="T9"/>
                  </a:cxn>
                </a:cxnLst>
                <a:rect l="0" t="0" r="r" b="b"/>
                <a:pathLst>
                  <a:path w="300" h="281">
                    <a:moveTo>
                      <a:pt x="43" y="219"/>
                    </a:moveTo>
                    <a:cubicBezTo>
                      <a:pt x="0" y="163"/>
                      <a:pt x="13" y="83"/>
                      <a:pt x="72" y="42"/>
                    </a:cubicBezTo>
                    <a:cubicBezTo>
                      <a:pt x="131" y="0"/>
                      <a:pt x="214" y="12"/>
                      <a:pt x="257" y="68"/>
                    </a:cubicBezTo>
                    <a:cubicBezTo>
                      <a:pt x="300" y="124"/>
                      <a:pt x="283" y="197"/>
                      <a:pt x="224" y="239"/>
                    </a:cubicBezTo>
                    <a:cubicBezTo>
                      <a:pt x="164" y="281"/>
                      <a:pt x="86" y="276"/>
                      <a:pt x="43" y="219"/>
                    </a:cubicBezTo>
                  </a:path>
                </a:pathLst>
              </a:custGeom>
              <a:solidFill>
                <a:srgbClr val="2B143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Verdana"/>
                  <a:ea typeface="+mn-ea"/>
                  <a:cs typeface="+mn-cs"/>
                </a:endParaRPr>
              </a:p>
            </p:txBody>
          </p:sp>
          <p:pic>
            <p:nvPicPr>
              <p:cNvPr id="26" name="Picture 393">
                <a:extLst>
                  <a:ext uri="{FF2B5EF4-FFF2-40B4-BE49-F238E27FC236}">
                    <a16:creationId xmlns:a16="http://schemas.microsoft.com/office/drawing/2014/main" id="{C7840A6A-FAF8-DB4E-8401-80F3EC6EE285}"/>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137283" y="4166112"/>
                <a:ext cx="893066" cy="890018"/>
              </a:xfrm>
              <a:prstGeom prst="rect">
                <a:avLst/>
              </a:prstGeom>
            </p:spPr>
          </p:pic>
        </p:grpSp>
        <p:sp>
          <p:nvSpPr>
            <p:cNvPr id="30" name="CuadroTexto 29">
              <a:extLst>
                <a:ext uri="{FF2B5EF4-FFF2-40B4-BE49-F238E27FC236}">
                  <a16:creationId xmlns:a16="http://schemas.microsoft.com/office/drawing/2014/main" id="{F2827618-986A-47EA-B665-0FA3F6F82864}"/>
                </a:ext>
              </a:extLst>
            </p:cNvPr>
            <p:cNvSpPr txBox="1"/>
            <p:nvPr/>
          </p:nvSpPr>
          <p:spPr>
            <a:xfrm>
              <a:off x="9246950" y="4631723"/>
              <a:ext cx="3464616" cy="106926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2ABDB"/>
                  </a:solidFill>
                  <a:effectLst/>
                  <a:uLnTx/>
                  <a:uFillTx/>
                  <a:latin typeface="Ubuntu Light" panose="020B0304030602030204" pitchFamily="34" charset="0"/>
                  <a:ea typeface="+mn-ea"/>
                  <a:cs typeface="+mn-cs"/>
                </a:rPr>
                <a:t>An API to integrate the spid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Ubuntu Light" panose="020B0304030602030204" pitchFamily="34" charset="0"/>
                  <a:ea typeface="+mn-ea"/>
                  <a:cs typeface="+mn-cs"/>
                </a:rPr>
                <a:t>Unattended executions </a:t>
              </a:r>
              <a:r>
                <a:rPr kumimoji="0" lang="en-US" sz="1200" b="0" i="0" u="none" strike="noStrike" kern="1200" cap="none" spc="0" normalizeH="0" baseline="0" noProof="0" dirty="0">
                  <a:ln>
                    <a:noFill/>
                  </a:ln>
                  <a:effectLst/>
                  <a:uLnTx/>
                  <a:uFillTx/>
                  <a:latin typeface="Ubuntu Light" panose="020B0304030602030204" pitchFamily="34" charset="0"/>
                  <a:ea typeface="+mn-ea"/>
                  <a:cs typeface="+mn-cs"/>
                </a:rPr>
                <a:t>and integration as a quality gate in a DevOps context.</a:t>
              </a:r>
            </a:p>
          </p:txBody>
        </p:sp>
        <p:grpSp>
          <p:nvGrpSpPr>
            <p:cNvPr id="5" name="Group 4">
              <a:extLst>
                <a:ext uri="{FF2B5EF4-FFF2-40B4-BE49-F238E27FC236}">
                  <a16:creationId xmlns:a16="http://schemas.microsoft.com/office/drawing/2014/main" id="{E6701DF9-84A3-4DE3-9F39-22443296EC10}"/>
                </a:ext>
              </a:extLst>
            </p:cNvPr>
            <p:cNvGrpSpPr/>
            <p:nvPr/>
          </p:nvGrpSpPr>
          <p:grpSpPr>
            <a:xfrm>
              <a:off x="8127015" y="4646873"/>
              <a:ext cx="968365" cy="916936"/>
              <a:chOff x="8133045" y="5200707"/>
              <a:chExt cx="968365" cy="916936"/>
            </a:xfrm>
          </p:grpSpPr>
          <p:sp>
            <p:nvSpPr>
              <p:cNvPr id="34" name="Freeform 9633">
                <a:extLst>
                  <a:ext uri="{FF2B5EF4-FFF2-40B4-BE49-F238E27FC236}">
                    <a16:creationId xmlns:a16="http://schemas.microsoft.com/office/drawing/2014/main" id="{0375784B-3C39-4C5C-BA4F-BCF10D8F92AD}"/>
                  </a:ext>
                </a:extLst>
              </p:cNvPr>
              <p:cNvSpPr>
                <a:spLocks noChangeAspect="1"/>
              </p:cNvSpPr>
              <p:nvPr/>
            </p:nvSpPr>
            <p:spPr bwMode="auto">
              <a:xfrm>
                <a:off x="8133045" y="5200707"/>
                <a:ext cx="968365" cy="912603"/>
              </a:xfrm>
              <a:custGeom>
                <a:avLst/>
                <a:gdLst>
                  <a:gd name="T0" fmla="*/ 43 w 300"/>
                  <a:gd name="T1" fmla="*/ 219 h 281"/>
                  <a:gd name="T2" fmla="*/ 72 w 300"/>
                  <a:gd name="T3" fmla="*/ 42 h 281"/>
                  <a:gd name="T4" fmla="*/ 257 w 300"/>
                  <a:gd name="T5" fmla="*/ 68 h 281"/>
                  <a:gd name="T6" fmla="*/ 224 w 300"/>
                  <a:gd name="T7" fmla="*/ 239 h 281"/>
                  <a:gd name="T8" fmla="*/ 43 w 300"/>
                  <a:gd name="T9" fmla="*/ 219 h 281"/>
                </a:gdLst>
                <a:ahLst/>
                <a:cxnLst>
                  <a:cxn ang="0">
                    <a:pos x="T0" y="T1"/>
                  </a:cxn>
                  <a:cxn ang="0">
                    <a:pos x="T2" y="T3"/>
                  </a:cxn>
                  <a:cxn ang="0">
                    <a:pos x="T4" y="T5"/>
                  </a:cxn>
                  <a:cxn ang="0">
                    <a:pos x="T6" y="T7"/>
                  </a:cxn>
                  <a:cxn ang="0">
                    <a:pos x="T8" y="T9"/>
                  </a:cxn>
                </a:cxnLst>
                <a:rect l="0" t="0" r="r" b="b"/>
                <a:pathLst>
                  <a:path w="300" h="281">
                    <a:moveTo>
                      <a:pt x="43" y="219"/>
                    </a:moveTo>
                    <a:cubicBezTo>
                      <a:pt x="0" y="163"/>
                      <a:pt x="13" y="83"/>
                      <a:pt x="72" y="42"/>
                    </a:cubicBezTo>
                    <a:cubicBezTo>
                      <a:pt x="131" y="0"/>
                      <a:pt x="214" y="12"/>
                      <a:pt x="257" y="68"/>
                    </a:cubicBezTo>
                    <a:cubicBezTo>
                      <a:pt x="300" y="124"/>
                      <a:pt x="283" y="197"/>
                      <a:pt x="224" y="239"/>
                    </a:cubicBezTo>
                    <a:cubicBezTo>
                      <a:pt x="164" y="281"/>
                      <a:pt x="86" y="276"/>
                      <a:pt x="43" y="219"/>
                    </a:cubicBezTo>
                  </a:path>
                </a:pathLst>
              </a:custGeom>
              <a:solidFill>
                <a:srgbClr val="2B143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Verdana"/>
                  <a:ea typeface="+mn-ea"/>
                  <a:cs typeface="+mn-cs"/>
                </a:endParaRPr>
              </a:p>
            </p:txBody>
          </p:sp>
          <p:pic>
            <p:nvPicPr>
              <p:cNvPr id="35" name="Picture 44">
                <a:extLst>
                  <a:ext uri="{FF2B5EF4-FFF2-40B4-BE49-F238E27FC236}">
                    <a16:creationId xmlns:a16="http://schemas.microsoft.com/office/drawing/2014/main" id="{41A7153F-6CE8-4FA2-AC45-C212D43C424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81694" y="5224577"/>
                <a:ext cx="890018" cy="893066"/>
              </a:xfrm>
              <a:prstGeom prst="rect">
                <a:avLst/>
              </a:prstGeom>
            </p:spPr>
          </p:pic>
        </p:grpSp>
      </p:grpSp>
    </p:spTree>
    <p:extLst>
      <p:ext uri="{BB962C8B-B14F-4D97-AF65-F5344CB8AC3E}">
        <p14:creationId xmlns:p14="http://schemas.microsoft.com/office/powerpoint/2010/main" val="7886564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192D1560-9B15-4E7F-8205-B56CE385A406}"/>
              </a:ext>
            </a:extLst>
          </p:cNvPr>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Verdana"/>
              <a:ea typeface="+mn-ea"/>
              <a:cs typeface="+mn-cs"/>
            </a:endParaRPr>
          </a:p>
        </p:txBody>
      </p:sp>
      <p:pic>
        <p:nvPicPr>
          <p:cNvPr id="15" name="Imagen 14" descr="Imagen en blanco y negro&#10;&#10;Descripción generada automáticamente con confianza baja">
            <a:extLst>
              <a:ext uri="{FF2B5EF4-FFF2-40B4-BE49-F238E27FC236}">
                <a16:creationId xmlns:a16="http://schemas.microsoft.com/office/drawing/2014/main" id="{3B6E2F92-18FA-4273-8B63-1041C628B5D8}"/>
              </a:ext>
            </a:extLst>
          </p:cNvPr>
          <p:cNvPicPr>
            <a:picLocks noChangeAspect="1"/>
          </p:cNvPicPr>
          <p:nvPr/>
        </p:nvPicPr>
        <p:blipFill rotWithShape="1">
          <a:blip r:embed="rId3"/>
          <a:srcRect t="26633" r="21015" b="44025"/>
          <a:stretch/>
        </p:blipFill>
        <p:spPr>
          <a:xfrm>
            <a:off x="4090020" y="3829050"/>
            <a:ext cx="8153400" cy="3028950"/>
          </a:xfrm>
          <a:prstGeom prst="rect">
            <a:avLst/>
          </a:prstGeom>
        </p:spPr>
      </p:pic>
      <p:sp>
        <p:nvSpPr>
          <p:cNvPr id="16" name="Rectángulo 15">
            <a:extLst>
              <a:ext uri="{FF2B5EF4-FFF2-40B4-BE49-F238E27FC236}">
                <a16:creationId xmlns:a16="http://schemas.microsoft.com/office/drawing/2014/main" id="{FF82B2F6-D0E6-4DBD-8DA9-5BB7B913146A}"/>
              </a:ext>
            </a:extLst>
          </p:cNvPr>
          <p:cNvSpPr/>
          <p:nvPr/>
        </p:nvSpPr>
        <p:spPr>
          <a:xfrm>
            <a:off x="11026186" y="6145414"/>
            <a:ext cx="992579" cy="552139"/>
          </a:xfrm>
          <a:prstGeom prst="rect">
            <a:avLst/>
          </a:prstGeom>
        </p:spPr>
        <p:txBody>
          <a:bodyPr wrap="square">
            <a:spAutoFit/>
          </a:bodyPr>
          <a:lstStyle/>
          <a:p>
            <a:pPr marL="0" marR="0" lvl="0" indent="0" algn="l" defTabSz="914400" rtl="0" eaLnBrk="1" fontAlgn="auto" latinLnBrk="0" hangingPunct="1">
              <a:lnSpc>
                <a:spcPts val="44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Ubuntu Mono" panose="020B0509030602030204" pitchFamily="49" charset="0"/>
                <a:ea typeface="+mn-ea"/>
                <a:cs typeface="+mn-cs"/>
              </a:rPr>
              <a:t>sogeti.es</a:t>
            </a:r>
            <a:endParaRPr kumimoji="0" lang="en-GB" sz="1400" b="0" i="0" u="none" strike="noStrike" kern="1200" cap="none" spc="0" normalizeH="0" baseline="0" noProof="0" dirty="0">
              <a:ln>
                <a:noFill/>
              </a:ln>
              <a:solidFill>
                <a:srgbClr val="FFFFFF"/>
              </a:solidFill>
              <a:effectLst/>
              <a:uLnTx/>
              <a:uFillTx/>
              <a:latin typeface="Ubuntu Mono" panose="020B0509030602030204" pitchFamily="49" charset="0"/>
              <a:ea typeface="+mn-ea"/>
              <a:cs typeface="+mn-cs"/>
            </a:endParaRPr>
          </a:p>
        </p:txBody>
      </p:sp>
      <p:pic>
        <p:nvPicPr>
          <p:cNvPr id="17" name="Imagen 16" descr="Imagen que contiene dibujo&#10;&#10;Descripción generada automáticamente">
            <a:extLst>
              <a:ext uri="{FF2B5EF4-FFF2-40B4-BE49-F238E27FC236}">
                <a16:creationId xmlns:a16="http://schemas.microsoft.com/office/drawing/2014/main" id="{1EC7F69E-C149-4437-90F8-34B0B5439DDD}"/>
              </a:ext>
            </a:extLst>
          </p:cNvPr>
          <p:cNvPicPr>
            <a:picLocks noChangeAspect="1"/>
          </p:cNvPicPr>
          <p:nvPr/>
        </p:nvPicPr>
        <p:blipFill>
          <a:blip r:embed="rId4"/>
          <a:stretch>
            <a:fillRect/>
          </a:stretch>
        </p:blipFill>
        <p:spPr>
          <a:xfrm>
            <a:off x="11057936" y="6151764"/>
            <a:ext cx="827094" cy="342607"/>
          </a:xfrm>
          <a:prstGeom prst="rect">
            <a:avLst/>
          </a:prstGeom>
        </p:spPr>
      </p:pic>
      <p:sp>
        <p:nvSpPr>
          <p:cNvPr id="18" name="Rectángulo 17">
            <a:extLst>
              <a:ext uri="{FF2B5EF4-FFF2-40B4-BE49-F238E27FC236}">
                <a16:creationId xmlns:a16="http://schemas.microsoft.com/office/drawing/2014/main" id="{7D324127-CE8D-4DDA-8F35-529E6A66B2B8}"/>
              </a:ext>
            </a:extLst>
          </p:cNvPr>
          <p:cNvSpPr/>
          <p:nvPr/>
        </p:nvSpPr>
        <p:spPr>
          <a:xfrm>
            <a:off x="7506449" y="5607157"/>
            <a:ext cx="2266198" cy="461665"/>
          </a:xfrm>
          <a:prstGeom prst="rect">
            <a:avLst/>
          </a:prstGeom>
          <a:noFill/>
        </p:spPr>
        <p:txBody>
          <a:bodyPr wrap="none" lIns="91440" tIns="45720" rIns="91440" bIns="45720">
            <a:spAutoFit/>
            <a:scene3d>
              <a:camera prst="isometricTopUp"/>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400" b="0" i="0" u="none" strike="noStrike" kern="1200" cap="none" spc="0" normalizeH="0" baseline="0" noProof="0" dirty="0">
                <a:ln w="0"/>
                <a:solidFill>
                  <a:srgbClr val="FFFFFF"/>
                </a:solidFill>
                <a:effectLst/>
                <a:uLnTx/>
                <a:uFillTx/>
                <a:latin typeface="Ubuntu Mono" panose="020B0509030602030204" pitchFamily="49" charset="0"/>
                <a:ea typeface="+mn-ea"/>
                <a:cs typeface="+mn-cs"/>
              </a:rPr>
              <a:t>THINKUBATOR</a:t>
            </a:r>
          </a:p>
        </p:txBody>
      </p:sp>
      <p:sp>
        <p:nvSpPr>
          <p:cNvPr id="19" name="Rectángulo 18">
            <a:extLst>
              <a:ext uri="{FF2B5EF4-FFF2-40B4-BE49-F238E27FC236}">
                <a16:creationId xmlns:a16="http://schemas.microsoft.com/office/drawing/2014/main" id="{48D0A152-48D1-49C9-9822-6014BF1E3FD3}"/>
              </a:ext>
            </a:extLst>
          </p:cNvPr>
          <p:cNvSpPr/>
          <p:nvPr/>
        </p:nvSpPr>
        <p:spPr>
          <a:xfrm>
            <a:off x="9738735" y="5555875"/>
            <a:ext cx="1732748" cy="338554"/>
          </a:xfrm>
          <a:prstGeom prst="rect">
            <a:avLst/>
          </a:prstGeom>
          <a:noFill/>
        </p:spPr>
        <p:txBody>
          <a:bodyPr wrap="square" lIns="91440" tIns="45720" rIns="91440" bIns="45720">
            <a:spAutoFit/>
            <a:scene3d>
              <a:camera prst="isometricTopUp"/>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a:ln w="0"/>
                <a:solidFill>
                  <a:srgbClr val="FFFFFF"/>
                </a:solidFill>
                <a:effectLst/>
                <a:uLnTx/>
                <a:uFillTx/>
                <a:latin typeface="Ubuntu" panose="020B0504030602030204" pitchFamily="34" charset="0"/>
                <a:ea typeface="+mn-ea"/>
                <a:cs typeface="+mn-cs"/>
              </a:rPr>
              <a:t>SOGETI SPAIN</a:t>
            </a:r>
          </a:p>
        </p:txBody>
      </p:sp>
      <p:sp>
        <p:nvSpPr>
          <p:cNvPr id="2" name="CuadroTexto 1">
            <a:extLst>
              <a:ext uri="{FF2B5EF4-FFF2-40B4-BE49-F238E27FC236}">
                <a16:creationId xmlns:a16="http://schemas.microsoft.com/office/drawing/2014/main" id="{5317A3B0-13E9-47AF-8711-323BB0DD43AC}"/>
              </a:ext>
            </a:extLst>
          </p:cNvPr>
          <p:cNvSpPr txBox="1"/>
          <p:nvPr/>
        </p:nvSpPr>
        <p:spPr>
          <a:xfrm>
            <a:off x="4634278" y="2498337"/>
            <a:ext cx="8693150" cy="2800767"/>
          </a:xfrm>
          <a:prstGeom prst="rect">
            <a:avLst/>
          </a:prstGeom>
          <a:noFill/>
          <a:scene3d>
            <a:camera prst="isometricTopUp"/>
            <a:lightRig rig="threePt" dir="t"/>
          </a:scene3d>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8800" b="1" dirty="0">
                <a:solidFill>
                  <a:srgbClr val="FFFFFF"/>
                </a:solidFill>
                <a:latin typeface="Ubuntu" panose="020B0504030602030204" pitchFamily="34" charset="0"/>
              </a:rPr>
              <a:t>Casos </a:t>
            </a:r>
          </a:p>
          <a:p>
            <a:pPr marL="0" marR="0" lvl="0" indent="0" algn="l" defTabSz="914400" rtl="0" eaLnBrk="1" fontAlgn="auto" latinLnBrk="0" hangingPunct="1">
              <a:lnSpc>
                <a:spcPct val="100000"/>
              </a:lnSpc>
              <a:spcBef>
                <a:spcPts val="0"/>
              </a:spcBef>
              <a:spcAft>
                <a:spcPts val="0"/>
              </a:spcAft>
              <a:buClrTx/>
              <a:buSzTx/>
              <a:buFontTx/>
              <a:buNone/>
              <a:tabLst/>
              <a:defRPr/>
            </a:pPr>
            <a:r>
              <a:rPr lang="es-ES" sz="8800" b="1" dirty="0">
                <a:solidFill>
                  <a:srgbClr val="FFFFFF"/>
                </a:solidFill>
                <a:latin typeface="Ubuntu" panose="020B0504030602030204" pitchFamily="34" charset="0"/>
              </a:rPr>
              <a:t>de aplicación</a:t>
            </a:r>
            <a:r>
              <a:rPr kumimoji="0" lang="es-ES" sz="8800" b="1" i="0" u="none" strike="noStrike" kern="1200" cap="none" spc="0" normalizeH="0" baseline="0" noProof="0" dirty="0">
                <a:ln>
                  <a:noFill/>
                </a:ln>
                <a:solidFill>
                  <a:srgbClr val="FF304C"/>
                </a:solidFill>
                <a:effectLst/>
                <a:uLnTx/>
                <a:uFillTx/>
                <a:latin typeface="Ubuntu" panose="020B0504030602030204" pitchFamily="34" charset="0"/>
                <a:ea typeface="+mn-ea"/>
                <a:cs typeface="+mn-cs"/>
              </a:rPr>
              <a:t>.</a:t>
            </a:r>
          </a:p>
        </p:txBody>
      </p:sp>
      <p:sp>
        <p:nvSpPr>
          <p:cNvPr id="9" name="Freeform 16">
            <a:extLst>
              <a:ext uri="{FF2B5EF4-FFF2-40B4-BE49-F238E27FC236}">
                <a16:creationId xmlns:a16="http://schemas.microsoft.com/office/drawing/2014/main" id="{CFFE01FC-4846-452A-B694-8DCB0D5ADF4C}"/>
              </a:ext>
            </a:extLst>
          </p:cNvPr>
          <p:cNvSpPr/>
          <p:nvPr/>
        </p:nvSpPr>
        <p:spPr>
          <a:xfrm>
            <a:off x="-22986" y="0"/>
            <a:ext cx="4971867" cy="68580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12" name="CuadroTexto 11">
            <a:extLst>
              <a:ext uri="{FF2B5EF4-FFF2-40B4-BE49-F238E27FC236}">
                <a16:creationId xmlns:a16="http://schemas.microsoft.com/office/drawing/2014/main" id="{E583A63E-3F56-4E3C-A03D-BE646FDB2058}"/>
              </a:ext>
            </a:extLst>
          </p:cNvPr>
          <p:cNvSpPr txBox="1"/>
          <p:nvPr/>
        </p:nvSpPr>
        <p:spPr>
          <a:xfrm>
            <a:off x="490669" y="3253941"/>
            <a:ext cx="8232774"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srgbClr val="FF304C"/>
                </a:solidFill>
                <a:effectLst/>
                <a:uLnTx/>
                <a:uFillTx/>
                <a:latin typeface="Ubuntu" panose="020B0504030602030204" pitchFamily="34" charset="0"/>
                <a:ea typeface="+mn-ea"/>
                <a:cs typeface="+mn-cs"/>
              </a:rPr>
              <a:t>#</a:t>
            </a:r>
            <a:r>
              <a:rPr kumimoji="0" lang="es-ES" sz="1400" b="0" i="0" u="none" strike="noStrike" kern="1200" cap="none" spc="0" normalizeH="0" baseline="0" noProof="0" dirty="0">
                <a:ln>
                  <a:noFill/>
                </a:ln>
                <a:solidFill>
                  <a:srgbClr val="12ABDB"/>
                </a:solidFill>
                <a:effectLst/>
                <a:uLnTx/>
                <a:uFillTx/>
                <a:latin typeface="Ubuntu" panose="020B0504030602030204" pitchFamily="34" charset="0"/>
                <a:ea typeface="+mn-ea"/>
                <a:cs typeface="+mn-cs"/>
              </a:rPr>
              <a:t>AccelerateWithSogeti</a:t>
            </a:r>
          </a:p>
        </p:txBody>
      </p:sp>
      <p:pic>
        <p:nvPicPr>
          <p:cNvPr id="4" name="Picture 2">
            <a:extLst>
              <a:ext uri="{FF2B5EF4-FFF2-40B4-BE49-F238E27FC236}">
                <a16:creationId xmlns:a16="http://schemas.microsoft.com/office/drawing/2014/main" id="{E87C833E-BFB2-4C90-8F64-B64570E934E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7527" y="2383474"/>
            <a:ext cx="870467" cy="870467"/>
          </a:xfrm>
          <a:prstGeom prst="rect">
            <a:avLst/>
          </a:prstGeom>
          <a:noFill/>
          <a:extLst>
            <a:ext uri="{909E8E84-426E-40DD-AFC4-6F175D3DCCD1}">
              <a14:hiddenFill xmlns:a14="http://schemas.microsoft.com/office/drawing/2010/main">
                <a:solidFill>
                  <a:srgbClr val="FFFFFF"/>
                </a:solidFill>
              </a14:hiddenFill>
            </a:ext>
          </a:extLst>
        </p:spPr>
      </p:pic>
      <p:pic>
        <p:nvPicPr>
          <p:cNvPr id="13" name="Imagen 12" descr="Icono&#10;&#10;Descripción generada automáticamente con confianza baja">
            <a:extLst>
              <a:ext uri="{FF2B5EF4-FFF2-40B4-BE49-F238E27FC236}">
                <a16:creationId xmlns:a16="http://schemas.microsoft.com/office/drawing/2014/main" id="{2702E158-1804-C240-9DBC-BAFA441088F5}"/>
              </a:ext>
            </a:extLst>
          </p:cNvPr>
          <p:cNvPicPr>
            <a:picLocks noChangeAspect="1"/>
          </p:cNvPicPr>
          <p:nvPr/>
        </p:nvPicPr>
        <p:blipFill>
          <a:blip r:embed="rId6"/>
          <a:stretch>
            <a:fillRect/>
          </a:stretch>
        </p:blipFill>
        <p:spPr>
          <a:xfrm>
            <a:off x="2174677" y="288928"/>
            <a:ext cx="4661485" cy="4661485"/>
          </a:xfrm>
          <a:prstGeom prst="rect">
            <a:avLst/>
          </a:prstGeom>
        </p:spPr>
      </p:pic>
    </p:spTree>
    <p:extLst>
      <p:ext uri="{BB962C8B-B14F-4D97-AF65-F5344CB8AC3E}">
        <p14:creationId xmlns:p14="http://schemas.microsoft.com/office/powerpoint/2010/main" val="20582197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Title 1">
            <a:extLst>
              <a:ext uri="{FF2B5EF4-FFF2-40B4-BE49-F238E27FC236}">
                <a16:creationId xmlns:a16="http://schemas.microsoft.com/office/drawing/2014/main" id="{C29BCF16-F13D-A34C-9ED2-DD8F24441065}"/>
              </a:ext>
            </a:extLst>
          </p:cNvPr>
          <p:cNvSpPr txBox="1">
            <a:spLocks/>
          </p:cNvSpPr>
          <p:nvPr/>
        </p:nvSpPr>
        <p:spPr>
          <a:xfrm>
            <a:off x="5214554" y="1508018"/>
            <a:ext cx="3633392" cy="1203916"/>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ES_tradnl" sz="1800" b="1" i="0" u="none" strike="noStrike" kern="1200" cap="none" spc="0" normalizeH="0" baseline="0" dirty="0">
                <a:ln>
                  <a:noFill/>
                </a:ln>
                <a:solidFill>
                  <a:srgbClr val="2B0A3D"/>
                </a:solidFill>
                <a:effectLst/>
                <a:uLnTx/>
                <a:uFillTx/>
                <a:latin typeface="Ubuntu" panose="020B0504030602030204" pitchFamily="34" charset="0"/>
                <a:ea typeface="+mj-ea"/>
                <a:cs typeface="+mj-cs"/>
              </a:rPr>
              <a:t>Implementamos un </a:t>
            </a:r>
            <a:r>
              <a:rPr kumimoji="0" lang="es-ES_tradnl" sz="1800" b="1" i="0" u="none" strike="noStrike" kern="1200" cap="none" spc="0" normalizeH="0" baseline="0" dirty="0" err="1">
                <a:ln>
                  <a:noFill/>
                </a:ln>
                <a:solidFill>
                  <a:srgbClr val="2B0A3D"/>
                </a:solidFill>
                <a:effectLst/>
                <a:uLnTx/>
                <a:uFillTx/>
                <a:latin typeface="Ubuntu" panose="020B0504030602030204" pitchFamily="34" charset="0"/>
                <a:ea typeface="+mj-ea"/>
                <a:cs typeface="+mj-cs"/>
              </a:rPr>
              <a:t>dashboard</a:t>
            </a:r>
            <a:r>
              <a:rPr kumimoji="0" lang="es-ES_tradnl" sz="1800" b="1" i="0" u="none" strike="noStrike" kern="1200" cap="none" spc="0" normalizeH="0" baseline="0" dirty="0">
                <a:ln>
                  <a:noFill/>
                </a:ln>
                <a:solidFill>
                  <a:srgbClr val="2B0A3D"/>
                </a:solidFill>
                <a:effectLst/>
                <a:uLnTx/>
                <a:uFillTx/>
                <a:latin typeface="Ubuntu" panose="020B0504030602030204" pitchFamily="34" charset="0"/>
                <a:ea typeface="+mj-ea"/>
                <a:cs typeface="+mj-cs"/>
              </a:rPr>
              <a:t> inicial básico para la provisión de </a:t>
            </a:r>
            <a:r>
              <a:rPr kumimoji="0" lang="es-ES_tradnl" sz="1800" b="1" i="0" u="none" strike="noStrike" kern="1200" cap="none" spc="0" normalizeH="0" baseline="0" dirty="0" err="1">
                <a:ln>
                  <a:noFill/>
                </a:ln>
                <a:solidFill>
                  <a:srgbClr val="2B0A3D"/>
                </a:solidFill>
                <a:effectLst/>
                <a:uLnTx/>
                <a:uFillTx/>
                <a:latin typeface="Ubuntu" panose="020B0504030602030204" pitchFamily="34" charset="0"/>
                <a:ea typeface="+mj-ea"/>
                <a:cs typeface="+mj-cs"/>
              </a:rPr>
              <a:t>feedback</a:t>
            </a:r>
            <a:r>
              <a:rPr kumimoji="0" lang="es-ES_tradnl" sz="1800" b="1" i="0" u="none" strike="noStrike" kern="1200" cap="none" spc="0" normalizeH="0" baseline="0" dirty="0">
                <a:ln>
                  <a:noFill/>
                </a:ln>
                <a:solidFill>
                  <a:srgbClr val="2B0A3D"/>
                </a:solidFill>
                <a:effectLst/>
                <a:uLnTx/>
                <a:uFillTx/>
                <a:latin typeface="Ubuntu" panose="020B0504030602030204" pitchFamily="34" charset="0"/>
                <a:ea typeface="+mj-ea"/>
                <a:cs typeface="+mj-cs"/>
              </a:rPr>
              <a:t> de calidad de proyectos</a:t>
            </a:r>
          </a:p>
        </p:txBody>
      </p:sp>
      <p:pic>
        <p:nvPicPr>
          <p:cNvPr id="106" name="Picture 102957">
            <a:extLst>
              <a:ext uri="{FF2B5EF4-FFF2-40B4-BE49-F238E27FC236}">
                <a16:creationId xmlns:a16="http://schemas.microsoft.com/office/drawing/2014/main" id="{D11F1EFA-806C-874C-9927-ADD643ACBE1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3601824" y="1107256"/>
            <a:ext cx="1868076" cy="1560154"/>
          </a:xfrm>
          <a:prstGeom prst="rect">
            <a:avLst/>
          </a:prstGeom>
        </p:spPr>
      </p:pic>
      <p:sp>
        <p:nvSpPr>
          <p:cNvPr id="110" name="Title 1">
            <a:extLst>
              <a:ext uri="{FF2B5EF4-FFF2-40B4-BE49-F238E27FC236}">
                <a16:creationId xmlns:a16="http://schemas.microsoft.com/office/drawing/2014/main" id="{FA0F6FD1-0ADF-D446-9B77-8460A9C6E81C}"/>
              </a:ext>
            </a:extLst>
          </p:cNvPr>
          <p:cNvSpPr txBox="1">
            <a:spLocks/>
          </p:cNvSpPr>
          <p:nvPr/>
        </p:nvSpPr>
        <p:spPr>
          <a:xfrm>
            <a:off x="5885864" y="2667410"/>
            <a:ext cx="2861459" cy="1502618"/>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lvl="0"/>
            <a:r>
              <a:rPr lang="es-ES_tradnl" sz="1100" dirty="0" err="1">
                <a:solidFill>
                  <a:srgbClr val="2B0A3D"/>
                </a:solidFill>
                <a:latin typeface="Ubuntu"/>
              </a:rPr>
              <a:t>SogetiLabs</a:t>
            </a:r>
            <a:r>
              <a:rPr lang="es-ES_tradnl" sz="1100" dirty="0">
                <a:solidFill>
                  <a:srgbClr val="2B0A3D"/>
                </a:solidFill>
                <a:latin typeface="Ubuntu"/>
              </a:rPr>
              <a:t> ha desarrollado un </a:t>
            </a:r>
            <a:r>
              <a:rPr lang="es-ES_tradnl" sz="1100" dirty="0" err="1">
                <a:solidFill>
                  <a:srgbClr val="2B0A3D"/>
                </a:solidFill>
                <a:latin typeface="Ubuntu"/>
              </a:rPr>
              <a:t>dashboard</a:t>
            </a:r>
            <a:r>
              <a:rPr lang="es-ES_tradnl" sz="1100" dirty="0">
                <a:solidFill>
                  <a:srgbClr val="2B0A3D"/>
                </a:solidFill>
                <a:latin typeface="Ubuntu"/>
              </a:rPr>
              <a:t> marco de evolución de la calidad en los proyectos, con métricas a distintos niveles y un indicador global de calidad para el </a:t>
            </a:r>
            <a:r>
              <a:rPr lang="es-ES_tradnl" sz="1100" dirty="0" err="1">
                <a:solidFill>
                  <a:srgbClr val="2B0A3D"/>
                </a:solidFill>
                <a:latin typeface="Ubuntu"/>
              </a:rPr>
              <a:t>benchmark</a:t>
            </a:r>
            <a:r>
              <a:rPr lang="es-ES_tradnl" sz="1100" dirty="0">
                <a:solidFill>
                  <a:srgbClr val="2B0A3D"/>
                </a:solidFill>
                <a:latin typeface="Ubuntu"/>
              </a:rPr>
              <a:t> entre proyectos.</a:t>
            </a:r>
            <a:endParaRPr kumimoji="0" lang="es-ES_tradnl" sz="1100" b="0" i="0" u="none" strike="noStrike" kern="1200" cap="none" spc="0" normalizeH="0" baseline="0" dirty="0">
              <a:ln>
                <a:noFill/>
              </a:ln>
              <a:solidFill>
                <a:srgbClr val="2B0A3D"/>
              </a:solidFill>
              <a:effectLst/>
              <a:uLnTx/>
              <a:uFillTx/>
              <a:latin typeface="Ubuntu"/>
              <a:ea typeface="+mj-ea"/>
              <a:cs typeface="+mj-cs"/>
            </a:endParaRPr>
          </a:p>
        </p:txBody>
      </p:sp>
      <p:sp>
        <p:nvSpPr>
          <p:cNvPr id="134" name="Title 1">
            <a:extLst>
              <a:ext uri="{FF2B5EF4-FFF2-40B4-BE49-F238E27FC236}">
                <a16:creationId xmlns:a16="http://schemas.microsoft.com/office/drawing/2014/main" id="{C8B1C3C0-2E22-3047-9432-F7C45CCF111E}"/>
              </a:ext>
            </a:extLst>
          </p:cNvPr>
          <p:cNvSpPr txBox="1">
            <a:spLocks/>
          </p:cNvSpPr>
          <p:nvPr/>
        </p:nvSpPr>
        <p:spPr>
          <a:xfrm>
            <a:off x="442428" y="2109840"/>
            <a:ext cx="2977720" cy="944253"/>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L="171450" marR="0" lvl="0" indent="-171450" algn="l" defTabSz="914400" rtl="0" eaLnBrk="1" fontAlgn="auto" latinLnBrk="0" hangingPunct="1">
              <a:lnSpc>
                <a:spcPct val="100000"/>
              </a:lnSpc>
              <a:spcBef>
                <a:spcPct val="0"/>
              </a:spcBef>
              <a:spcAft>
                <a:spcPts val="0"/>
              </a:spcAft>
              <a:buClrTx/>
              <a:buSzTx/>
              <a:buFont typeface="Wingdings" pitchFamily="2" charset="2"/>
              <a:buChar char="§"/>
              <a:tabLst/>
              <a:defRPr/>
            </a:pPr>
            <a:endParaRPr kumimoji="0" lang="en-US" sz="1200" b="0" i="0" u="none" strike="noStrike" kern="1200" cap="none" spc="0" normalizeH="0" baseline="0" noProof="0">
              <a:ln>
                <a:noFill/>
              </a:ln>
              <a:solidFill>
                <a:srgbClr val="FFFFFF"/>
              </a:solidFill>
              <a:effectLst/>
              <a:uLnTx/>
              <a:uFillTx/>
              <a:latin typeface="Ubuntu Light" panose="020B0304030602030204" pitchFamily="34" charset="0"/>
              <a:ea typeface="+mj-ea"/>
              <a:cs typeface="+mj-cs"/>
            </a:endParaRPr>
          </a:p>
        </p:txBody>
      </p:sp>
      <p:sp>
        <p:nvSpPr>
          <p:cNvPr id="135" name="Title 1">
            <a:extLst>
              <a:ext uri="{FF2B5EF4-FFF2-40B4-BE49-F238E27FC236}">
                <a16:creationId xmlns:a16="http://schemas.microsoft.com/office/drawing/2014/main" id="{607DF644-DB64-CC44-97D6-69D5A0F708B6}"/>
              </a:ext>
            </a:extLst>
          </p:cNvPr>
          <p:cNvSpPr txBox="1">
            <a:spLocks/>
          </p:cNvSpPr>
          <p:nvPr/>
        </p:nvSpPr>
        <p:spPr>
          <a:xfrm>
            <a:off x="454694" y="2981209"/>
            <a:ext cx="2989985" cy="944253"/>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L="171450" marR="0" lvl="0" indent="-171450" algn="l" defTabSz="914400" rtl="0" eaLnBrk="1" fontAlgn="auto" latinLnBrk="0" hangingPunct="1">
              <a:lnSpc>
                <a:spcPct val="100000"/>
              </a:lnSpc>
              <a:spcBef>
                <a:spcPct val="0"/>
              </a:spcBef>
              <a:spcAft>
                <a:spcPts val="0"/>
              </a:spcAft>
              <a:buClrTx/>
              <a:buSzTx/>
              <a:buFont typeface="Wingdings" pitchFamily="2" charset="2"/>
              <a:buChar char="§"/>
              <a:tabLst/>
              <a:defRPr/>
            </a:pPr>
            <a:endParaRPr kumimoji="0" lang="en-US" sz="1200" b="0" i="0" u="none" strike="noStrike" kern="1200" cap="none" spc="0" normalizeH="0" baseline="0" noProof="0">
              <a:ln>
                <a:noFill/>
              </a:ln>
              <a:solidFill>
                <a:srgbClr val="FFFFFF"/>
              </a:solidFill>
              <a:effectLst/>
              <a:uLnTx/>
              <a:uFillTx/>
              <a:latin typeface="Ubuntu Light" panose="020B0304030602030204" pitchFamily="34" charset="0"/>
              <a:ea typeface="+mj-ea"/>
              <a:cs typeface="+mj-cs"/>
            </a:endParaRPr>
          </a:p>
        </p:txBody>
      </p:sp>
      <p:sp>
        <p:nvSpPr>
          <p:cNvPr id="136" name="Title 1">
            <a:extLst>
              <a:ext uri="{FF2B5EF4-FFF2-40B4-BE49-F238E27FC236}">
                <a16:creationId xmlns:a16="http://schemas.microsoft.com/office/drawing/2014/main" id="{DB826FFD-A232-904E-9873-C7C004F36047}"/>
              </a:ext>
            </a:extLst>
          </p:cNvPr>
          <p:cNvSpPr txBox="1">
            <a:spLocks/>
          </p:cNvSpPr>
          <p:nvPr/>
        </p:nvSpPr>
        <p:spPr>
          <a:xfrm>
            <a:off x="696021" y="3901765"/>
            <a:ext cx="3973677" cy="2413336"/>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R="0" lvl="0" algn="l" defTabSz="914400" rtl="0" eaLnBrk="1" fontAlgn="auto" latinLnBrk="0" hangingPunct="1">
              <a:lnSpc>
                <a:spcPct val="100000"/>
              </a:lnSpc>
              <a:spcBef>
                <a:spcPct val="0"/>
              </a:spcBef>
              <a:spcAft>
                <a:spcPts val="0"/>
              </a:spcAft>
              <a:buClrTx/>
              <a:buSzTx/>
              <a:tabLst/>
              <a:defRPr/>
            </a:pPr>
            <a:r>
              <a:rPr kumimoji="0" lang="es-ES_tradnl" sz="1600" i="0" u="none" strike="noStrike" kern="1200" cap="none" spc="0" normalizeH="0" baseline="0" dirty="0">
                <a:ln>
                  <a:noFill/>
                </a:ln>
                <a:solidFill>
                  <a:srgbClr val="2B0A3D"/>
                </a:solidFill>
                <a:effectLst/>
                <a:uLnTx/>
                <a:uFillTx/>
                <a:latin typeface="Ubuntu"/>
                <a:ea typeface="+mj-ea"/>
                <a:cs typeface="+mj-cs"/>
              </a:rPr>
              <a:t>Implementación de un </a:t>
            </a:r>
            <a:r>
              <a:rPr kumimoji="0" lang="es-ES_tradnl" sz="1600" b="1" i="0" u="none" strike="noStrike" kern="1200" cap="none" spc="0" normalizeH="0" baseline="0" dirty="0" err="1">
                <a:ln>
                  <a:noFill/>
                </a:ln>
                <a:solidFill>
                  <a:srgbClr val="2B0A3D"/>
                </a:solidFill>
                <a:effectLst/>
                <a:uLnTx/>
                <a:uFillTx/>
                <a:latin typeface="Ubuntu"/>
                <a:ea typeface="+mj-ea"/>
                <a:cs typeface="+mj-cs"/>
              </a:rPr>
              <a:t>dashboard</a:t>
            </a:r>
            <a:r>
              <a:rPr kumimoji="0" lang="es-ES_tradnl" sz="1600" b="1" i="0" u="none" strike="noStrike" kern="1200" cap="none" spc="0" normalizeH="0" baseline="0" dirty="0">
                <a:ln>
                  <a:noFill/>
                </a:ln>
                <a:solidFill>
                  <a:srgbClr val="2B0A3D"/>
                </a:solidFill>
                <a:effectLst/>
                <a:uLnTx/>
                <a:uFillTx/>
                <a:latin typeface="Ubuntu"/>
                <a:ea typeface="+mj-ea"/>
                <a:cs typeface="+mj-cs"/>
              </a:rPr>
              <a:t> básico con métricas predefinidas </a:t>
            </a:r>
            <a:r>
              <a:rPr kumimoji="0" lang="es-ES_tradnl" sz="1600" i="0" u="none" strike="noStrike" kern="1200" cap="none" spc="0" normalizeH="0" baseline="0" dirty="0">
                <a:ln>
                  <a:noFill/>
                </a:ln>
                <a:solidFill>
                  <a:srgbClr val="2B0A3D"/>
                </a:solidFill>
                <a:effectLst/>
                <a:uLnTx/>
                <a:uFillTx/>
                <a:latin typeface="Ubuntu"/>
                <a:ea typeface="+mj-ea"/>
                <a:cs typeface="+mj-cs"/>
              </a:rPr>
              <a:t>para la provisión automática de </a:t>
            </a:r>
            <a:r>
              <a:rPr kumimoji="0" lang="es-ES_tradnl" sz="1600" i="0" u="none" strike="noStrike" kern="1200" cap="none" spc="0" normalizeH="0" baseline="0" dirty="0" err="1">
                <a:ln>
                  <a:noFill/>
                </a:ln>
                <a:solidFill>
                  <a:srgbClr val="2B0A3D"/>
                </a:solidFill>
                <a:effectLst/>
                <a:uLnTx/>
                <a:uFillTx/>
                <a:latin typeface="Ubuntu"/>
                <a:ea typeface="+mj-ea"/>
                <a:cs typeface="+mj-cs"/>
              </a:rPr>
              <a:t>feedback</a:t>
            </a:r>
            <a:r>
              <a:rPr kumimoji="0" lang="es-ES_tradnl" sz="1600" i="0" u="none" strike="noStrike" kern="1200" cap="none" spc="0" normalizeH="0" baseline="0" dirty="0">
                <a:ln>
                  <a:noFill/>
                </a:ln>
                <a:solidFill>
                  <a:srgbClr val="2B0A3D"/>
                </a:solidFill>
                <a:effectLst/>
                <a:uLnTx/>
                <a:uFillTx/>
                <a:latin typeface="Ubuntu"/>
                <a:ea typeface="+mj-ea"/>
                <a:cs typeface="+mj-cs"/>
              </a:rPr>
              <a:t> de calidad sobre los proyectos, con conexión a fuentes de datos preestablecidas (Jira, </a:t>
            </a:r>
            <a:r>
              <a:rPr kumimoji="0" lang="es-ES_tradnl" sz="1600" i="0" u="none" strike="noStrike" kern="1200" cap="none" spc="0" normalizeH="0" baseline="0" dirty="0" err="1">
                <a:ln>
                  <a:noFill/>
                </a:ln>
                <a:solidFill>
                  <a:srgbClr val="2B0A3D"/>
                </a:solidFill>
                <a:effectLst/>
                <a:uLnTx/>
                <a:uFillTx/>
                <a:latin typeface="Ubuntu"/>
                <a:ea typeface="+mj-ea"/>
                <a:cs typeface="+mj-cs"/>
              </a:rPr>
              <a:t>XRay</a:t>
            </a:r>
            <a:r>
              <a:rPr kumimoji="0" lang="es-ES_tradnl" sz="1600" i="0" u="none" strike="noStrike" kern="1200" cap="none" spc="0" normalizeH="0" baseline="0" dirty="0">
                <a:ln>
                  <a:noFill/>
                </a:ln>
                <a:solidFill>
                  <a:srgbClr val="2B0A3D"/>
                </a:solidFill>
                <a:effectLst/>
                <a:uLnTx/>
                <a:uFillTx/>
                <a:latin typeface="Ubuntu"/>
                <a:ea typeface="+mj-ea"/>
                <a:cs typeface="+mj-cs"/>
              </a:rPr>
              <a:t>, </a:t>
            </a:r>
            <a:r>
              <a:rPr kumimoji="0" lang="es-ES_tradnl" sz="1600" i="0" u="none" strike="noStrike" kern="1200" cap="none" spc="0" normalizeH="0" baseline="0" dirty="0" err="1">
                <a:ln>
                  <a:noFill/>
                </a:ln>
                <a:solidFill>
                  <a:srgbClr val="2B0A3D"/>
                </a:solidFill>
                <a:effectLst/>
                <a:uLnTx/>
                <a:uFillTx/>
                <a:latin typeface="Ubuntu"/>
                <a:ea typeface="+mj-ea"/>
                <a:cs typeface="+mj-cs"/>
              </a:rPr>
              <a:t>Azure</a:t>
            </a:r>
            <a:r>
              <a:rPr kumimoji="0" lang="es-ES_tradnl" sz="1600" i="0" u="none" strike="noStrike" kern="1200" cap="none" spc="0" normalizeH="0" baseline="0" dirty="0">
                <a:ln>
                  <a:noFill/>
                </a:ln>
                <a:solidFill>
                  <a:srgbClr val="2B0A3D"/>
                </a:solidFill>
                <a:effectLst/>
                <a:uLnTx/>
                <a:uFillTx/>
                <a:latin typeface="Ubuntu"/>
                <a:ea typeface="+mj-ea"/>
                <a:cs typeface="+mj-cs"/>
              </a:rPr>
              <a:t> </a:t>
            </a:r>
            <a:r>
              <a:rPr kumimoji="0" lang="es-ES_tradnl" sz="1600" i="0" u="none" strike="noStrike" kern="1200" cap="none" spc="0" normalizeH="0" baseline="0" dirty="0" err="1">
                <a:ln>
                  <a:noFill/>
                </a:ln>
                <a:solidFill>
                  <a:srgbClr val="2B0A3D"/>
                </a:solidFill>
                <a:effectLst/>
                <a:uLnTx/>
                <a:uFillTx/>
                <a:latin typeface="Ubuntu"/>
                <a:ea typeface="+mj-ea"/>
                <a:cs typeface="+mj-cs"/>
              </a:rPr>
              <a:t>DevOps</a:t>
            </a:r>
            <a:r>
              <a:rPr kumimoji="0" lang="es-ES_tradnl" sz="1600" i="0" u="none" strike="noStrike" kern="1200" cap="none" spc="0" normalizeH="0" baseline="0" dirty="0">
                <a:ln>
                  <a:noFill/>
                </a:ln>
                <a:solidFill>
                  <a:srgbClr val="2B0A3D"/>
                </a:solidFill>
                <a:effectLst/>
                <a:uLnTx/>
                <a:uFillTx/>
                <a:latin typeface="Ubuntu"/>
                <a:ea typeface="+mj-ea"/>
                <a:cs typeface="+mj-cs"/>
              </a:rPr>
              <a:t> o </a:t>
            </a:r>
            <a:r>
              <a:rPr kumimoji="0" lang="es-ES_tradnl" sz="1600" i="0" u="none" strike="noStrike" kern="1200" cap="none" spc="0" normalizeH="0" baseline="0" dirty="0" err="1">
                <a:ln>
                  <a:noFill/>
                </a:ln>
                <a:solidFill>
                  <a:srgbClr val="2B0A3D"/>
                </a:solidFill>
                <a:effectLst/>
                <a:uLnTx/>
                <a:uFillTx/>
                <a:latin typeface="Ubuntu"/>
                <a:ea typeface="+mj-ea"/>
                <a:cs typeface="+mj-cs"/>
              </a:rPr>
              <a:t>TestLink</a:t>
            </a:r>
            <a:r>
              <a:rPr kumimoji="0" lang="es-ES_tradnl" sz="1600" i="0" u="none" strike="noStrike" kern="1200" cap="none" spc="0" normalizeH="0" baseline="0" dirty="0">
                <a:ln>
                  <a:noFill/>
                </a:ln>
                <a:solidFill>
                  <a:srgbClr val="2B0A3D"/>
                </a:solidFill>
                <a:effectLst/>
                <a:uLnTx/>
                <a:uFillTx/>
                <a:latin typeface="Ubuntu"/>
                <a:ea typeface="+mj-ea"/>
                <a:cs typeface="+mj-cs"/>
              </a:rPr>
              <a:t>)</a:t>
            </a:r>
            <a:endParaRPr lang="es-ES_tradnl" sz="1200" b="1" dirty="0">
              <a:solidFill>
                <a:srgbClr val="2B0A3D"/>
              </a:solidFill>
              <a:latin typeface="Ubuntu"/>
            </a:endParaRPr>
          </a:p>
          <a:p>
            <a:pPr marL="171450" marR="0" lvl="0" indent="-171450" algn="l" defTabSz="914400" rtl="0" eaLnBrk="1" fontAlgn="auto" latinLnBrk="0" hangingPunct="1">
              <a:lnSpc>
                <a:spcPct val="100000"/>
              </a:lnSpc>
              <a:spcBef>
                <a:spcPct val="0"/>
              </a:spcBef>
              <a:spcAft>
                <a:spcPts val="0"/>
              </a:spcAft>
              <a:buClrTx/>
              <a:buSzTx/>
              <a:buFont typeface="Wingdings" pitchFamily="2" charset="2"/>
              <a:buChar char="§"/>
              <a:tabLst/>
              <a:defRPr/>
            </a:pPr>
            <a:endParaRPr kumimoji="0" lang="ca-ES" sz="1000" b="0" i="0" u="none" strike="noStrike" kern="1200" cap="none" spc="0" normalizeH="0" baseline="0" dirty="0">
              <a:ln>
                <a:noFill/>
              </a:ln>
              <a:solidFill>
                <a:srgbClr val="2B0A3D"/>
              </a:solidFill>
              <a:effectLst/>
              <a:uLnTx/>
              <a:uFillTx/>
              <a:latin typeface="Ubuntu Light" panose="020B0304030602030204" pitchFamily="34" charset="0"/>
              <a:ea typeface="+mj-ea"/>
              <a:cs typeface="+mj-cs"/>
            </a:endParaRPr>
          </a:p>
          <a:p>
            <a:pPr marL="171450" marR="0" lvl="0" indent="-171450" algn="l" defTabSz="914400" rtl="0" eaLnBrk="1" fontAlgn="auto" latinLnBrk="0" hangingPunct="1">
              <a:lnSpc>
                <a:spcPct val="100000"/>
              </a:lnSpc>
              <a:spcBef>
                <a:spcPct val="0"/>
              </a:spcBef>
              <a:spcAft>
                <a:spcPts val="0"/>
              </a:spcAft>
              <a:buClrTx/>
              <a:buSzTx/>
              <a:buFont typeface="Wingdings" pitchFamily="2" charset="2"/>
              <a:buChar char="§"/>
              <a:tabLst/>
              <a:defRPr/>
            </a:pPr>
            <a:endParaRPr kumimoji="0" lang="ca-ES" sz="1000" b="0" i="0" u="none" strike="noStrike" kern="1200" cap="none" spc="0" normalizeH="0" baseline="0" dirty="0">
              <a:ln>
                <a:noFill/>
              </a:ln>
              <a:solidFill>
                <a:srgbClr val="2B0A3D"/>
              </a:solidFill>
              <a:effectLst/>
              <a:uLnTx/>
              <a:uFillTx/>
              <a:latin typeface="Ubuntu Light" panose="020B0304030602030204" pitchFamily="34" charset="0"/>
              <a:ea typeface="+mj-ea"/>
              <a:cs typeface="+mj-cs"/>
            </a:endParaRPr>
          </a:p>
        </p:txBody>
      </p:sp>
      <p:sp>
        <p:nvSpPr>
          <p:cNvPr id="137" name="Title 1">
            <a:extLst>
              <a:ext uri="{FF2B5EF4-FFF2-40B4-BE49-F238E27FC236}">
                <a16:creationId xmlns:a16="http://schemas.microsoft.com/office/drawing/2014/main" id="{10EBAEB8-B6E4-AB44-858C-1602EAC40F46}"/>
              </a:ext>
            </a:extLst>
          </p:cNvPr>
          <p:cNvSpPr txBox="1">
            <a:spLocks/>
          </p:cNvSpPr>
          <p:nvPr/>
        </p:nvSpPr>
        <p:spPr>
          <a:xfrm>
            <a:off x="469857" y="5778920"/>
            <a:ext cx="2977720" cy="944253"/>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L="171450" marR="0" lvl="0" indent="-171450" algn="l" defTabSz="914400" rtl="0" eaLnBrk="1" fontAlgn="auto" latinLnBrk="0" hangingPunct="1">
              <a:lnSpc>
                <a:spcPct val="100000"/>
              </a:lnSpc>
              <a:spcBef>
                <a:spcPct val="0"/>
              </a:spcBef>
              <a:spcAft>
                <a:spcPts val="0"/>
              </a:spcAft>
              <a:buClrTx/>
              <a:buSzTx/>
              <a:buFont typeface="Wingdings" pitchFamily="2" charset="2"/>
              <a:buChar char="§"/>
              <a:tabLst/>
              <a:defRPr/>
            </a:pPr>
            <a:endParaRPr kumimoji="0" lang="en-US" sz="1200" b="0" i="0" u="none" strike="noStrike" kern="1200" cap="none" spc="0" normalizeH="0" baseline="0" noProof="0">
              <a:ln>
                <a:noFill/>
              </a:ln>
              <a:solidFill>
                <a:srgbClr val="FFFFFF"/>
              </a:solidFill>
              <a:effectLst/>
              <a:uLnTx/>
              <a:uFillTx/>
              <a:latin typeface="Ubuntu Light" panose="020B0304030602030204" pitchFamily="34" charset="0"/>
              <a:ea typeface="+mj-ea"/>
              <a:cs typeface="+mj-cs"/>
            </a:endParaRPr>
          </a:p>
        </p:txBody>
      </p:sp>
      <p:sp>
        <p:nvSpPr>
          <p:cNvPr id="6" name="Título 5">
            <a:extLst>
              <a:ext uri="{FF2B5EF4-FFF2-40B4-BE49-F238E27FC236}">
                <a16:creationId xmlns:a16="http://schemas.microsoft.com/office/drawing/2014/main" id="{3F4FFB4B-8809-40C8-B566-1F95C4345C87}"/>
              </a:ext>
            </a:extLst>
          </p:cNvPr>
          <p:cNvSpPr>
            <a:spLocks noGrp="1"/>
          </p:cNvSpPr>
          <p:nvPr>
            <p:ph type="title"/>
          </p:nvPr>
        </p:nvSpPr>
        <p:spPr>
          <a:xfrm>
            <a:off x="696022" y="601781"/>
            <a:ext cx="3135198" cy="1747879"/>
          </a:xfrm>
        </p:spPr>
        <p:txBody>
          <a:bodyPr/>
          <a:lstStyle/>
          <a:p>
            <a:r>
              <a:rPr lang="es-ES" sz="2800" dirty="0" err="1"/>
              <a:t>QualityEye</a:t>
            </a:r>
            <a:r>
              <a:rPr lang="es-ES" sz="2800" dirty="0"/>
              <a:t> – </a:t>
            </a:r>
            <a:r>
              <a:rPr lang="es-ES" dirty="0" err="1"/>
              <a:t>Dashboard</a:t>
            </a:r>
            <a:r>
              <a:rPr lang="es-ES" dirty="0"/>
              <a:t> inicial de calidad</a:t>
            </a:r>
            <a:endParaRPr lang="en-GB" dirty="0"/>
          </a:p>
        </p:txBody>
      </p:sp>
      <p:pic>
        <p:nvPicPr>
          <p:cNvPr id="17" name="Imagen 16" descr="Icono&#10;&#10;Descripción generada automáticamente">
            <a:extLst>
              <a:ext uri="{FF2B5EF4-FFF2-40B4-BE49-F238E27FC236}">
                <a16:creationId xmlns:a16="http://schemas.microsoft.com/office/drawing/2014/main" id="{620F3121-CE3C-FF43-A959-198078034F1C}"/>
              </a:ext>
            </a:extLst>
          </p:cNvPr>
          <p:cNvPicPr>
            <a:picLocks noChangeAspect="1"/>
          </p:cNvPicPr>
          <p:nvPr/>
        </p:nvPicPr>
        <p:blipFill>
          <a:blip r:embed="rId3"/>
          <a:stretch>
            <a:fillRect/>
          </a:stretch>
        </p:blipFill>
        <p:spPr>
          <a:xfrm>
            <a:off x="637544" y="5770653"/>
            <a:ext cx="1920759" cy="912679"/>
          </a:xfrm>
          <a:prstGeom prst="rect">
            <a:avLst/>
          </a:prstGeom>
        </p:spPr>
      </p:pic>
      <p:sp>
        <p:nvSpPr>
          <p:cNvPr id="3" name="Marcador de texto 2">
            <a:extLst>
              <a:ext uri="{FF2B5EF4-FFF2-40B4-BE49-F238E27FC236}">
                <a16:creationId xmlns:a16="http://schemas.microsoft.com/office/drawing/2014/main" id="{A888FF3C-BDDF-0F4C-A780-D8CA9A87F6B7}"/>
              </a:ext>
            </a:extLst>
          </p:cNvPr>
          <p:cNvSpPr>
            <a:spLocks noGrp="1"/>
          </p:cNvSpPr>
          <p:nvPr>
            <p:ph type="body" sz="quarter" idx="10"/>
          </p:nvPr>
        </p:nvSpPr>
        <p:spPr/>
        <p:txBody>
          <a:bodyPr/>
          <a:lstStyle/>
          <a:p>
            <a:r>
              <a:rPr lang="es-ES_tradnl" dirty="0"/>
              <a:t>Aplicable a proyectos que no disponen de </a:t>
            </a:r>
            <a:r>
              <a:rPr lang="es-ES_tradnl" dirty="0" err="1"/>
              <a:t>feedback</a:t>
            </a:r>
            <a:r>
              <a:rPr lang="es-ES_tradnl" dirty="0"/>
              <a:t> estructurado con un </a:t>
            </a:r>
            <a:r>
              <a:rPr lang="es-ES_tradnl" dirty="0" err="1"/>
              <a:t>dashboard</a:t>
            </a:r>
            <a:r>
              <a:rPr lang="es-ES_tradnl" dirty="0"/>
              <a:t> de métricas de calidad básico </a:t>
            </a:r>
            <a:endParaRPr lang="es-ES" dirty="0"/>
          </a:p>
        </p:txBody>
      </p:sp>
      <p:grpSp>
        <p:nvGrpSpPr>
          <p:cNvPr id="38" name="Grupo 37">
            <a:extLst>
              <a:ext uri="{FF2B5EF4-FFF2-40B4-BE49-F238E27FC236}">
                <a16:creationId xmlns:a16="http://schemas.microsoft.com/office/drawing/2014/main" id="{9C3D403A-5C9A-4D49-949C-78735EB1D34B}"/>
              </a:ext>
            </a:extLst>
          </p:cNvPr>
          <p:cNvGrpSpPr/>
          <p:nvPr/>
        </p:nvGrpSpPr>
        <p:grpSpPr>
          <a:xfrm>
            <a:off x="5977861" y="3871326"/>
            <a:ext cx="3171212" cy="2513384"/>
            <a:chOff x="2940295" y="2402373"/>
            <a:chExt cx="5377018" cy="4086084"/>
          </a:xfrm>
        </p:grpSpPr>
        <p:pic>
          <p:nvPicPr>
            <p:cNvPr id="39" name="Imagen 38">
              <a:extLst>
                <a:ext uri="{FF2B5EF4-FFF2-40B4-BE49-F238E27FC236}">
                  <a16:creationId xmlns:a16="http://schemas.microsoft.com/office/drawing/2014/main" id="{C7208F82-3160-8943-ACF3-75C920EDCD43}"/>
                </a:ext>
              </a:extLst>
            </p:cNvPr>
            <p:cNvPicPr>
              <a:picLocks noChangeAspect="1"/>
            </p:cNvPicPr>
            <p:nvPr/>
          </p:nvPicPr>
          <p:blipFill>
            <a:blip r:embed="rId4"/>
            <a:stretch>
              <a:fillRect/>
            </a:stretch>
          </p:blipFill>
          <p:spPr>
            <a:xfrm>
              <a:off x="5575181" y="2406565"/>
              <a:ext cx="2742132" cy="1834896"/>
            </a:xfrm>
            <a:prstGeom prst="rect">
              <a:avLst/>
            </a:prstGeom>
            <a:ln>
              <a:noFill/>
            </a:ln>
            <a:effectLst/>
          </p:spPr>
        </p:pic>
        <p:pic>
          <p:nvPicPr>
            <p:cNvPr id="40" name="Imagen 39">
              <a:extLst>
                <a:ext uri="{FF2B5EF4-FFF2-40B4-BE49-F238E27FC236}">
                  <a16:creationId xmlns:a16="http://schemas.microsoft.com/office/drawing/2014/main" id="{E87C7FBD-5163-7A4A-ACA4-60B42336924D}"/>
                </a:ext>
              </a:extLst>
            </p:cNvPr>
            <p:cNvPicPr>
              <a:picLocks noChangeAspect="1"/>
            </p:cNvPicPr>
            <p:nvPr/>
          </p:nvPicPr>
          <p:blipFill rotWithShape="1">
            <a:blip r:embed="rId5"/>
            <a:srcRect r="59546"/>
            <a:stretch/>
          </p:blipFill>
          <p:spPr>
            <a:xfrm>
              <a:off x="2940295" y="4350488"/>
              <a:ext cx="1499820" cy="2132009"/>
            </a:xfrm>
            <a:prstGeom prst="rect">
              <a:avLst/>
            </a:prstGeom>
            <a:ln>
              <a:noFill/>
            </a:ln>
            <a:effectLst/>
          </p:spPr>
        </p:pic>
        <p:pic>
          <p:nvPicPr>
            <p:cNvPr id="41" name="Imagen 40">
              <a:extLst>
                <a:ext uri="{FF2B5EF4-FFF2-40B4-BE49-F238E27FC236}">
                  <a16:creationId xmlns:a16="http://schemas.microsoft.com/office/drawing/2014/main" id="{61440EA4-3BFA-EC41-B037-3AE304C708ED}"/>
                </a:ext>
              </a:extLst>
            </p:cNvPr>
            <p:cNvPicPr>
              <a:picLocks noChangeAspect="1"/>
            </p:cNvPicPr>
            <p:nvPr/>
          </p:nvPicPr>
          <p:blipFill>
            <a:blip r:embed="rId6"/>
            <a:stretch>
              <a:fillRect/>
            </a:stretch>
          </p:blipFill>
          <p:spPr>
            <a:xfrm>
              <a:off x="2946922" y="2402373"/>
              <a:ext cx="2504455" cy="1831489"/>
            </a:xfrm>
            <a:prstGeom prst="rect">
              <a:avLst/>
            </a:prstGeom>
            <a:ln>
              <a:noFill/>
            </a:ln>
            <a:effectLst/>
          </p:spPr>
        </p:pic>
        <p:pic>
          <p:nvPicPr>
            <p:cNvPr id="42" name="Imagen 41">
              <a:extLst>
                <a:ext uri="{FF2B5EF4-FFF2-40B4-BE49-F238E27FC236}">
                  <a16:creationId xmlns:a16="http://schemas.microsoft.com/office/drawing/2014/main" id="{0615D3FC-D21D-664F-AB59-6C004E286AC3}"/>
                </a:ext>
              </a:extLst>
            </p:cNvPr>
            <p:cNvPicPr>
              <a:picLocks noChangeAspect="1"/>
            </p:cNvPicPr>
            <p:nvPr/>
          </p:nvPicPr>
          <p:blipFill>
            <a:blip r:embed="rId7"/>
            <a:stretch>
              <a:fillRect/>
            </a:stretch>
          </p:blipFill>
          <p:spPr>
            <a:xfrm>
              <a:off x="4580445" y="4356447"/>
              <a:ext cx="3729177" cy="2132010"/>
            </a:xfrm>
            <a:prstGeom prst="rect">
              <a:avLst/>
            </a:prstGeom>
            <a:ln>
              <a:noFill/>
            </a:ln>
            <a:effectLst/>
          </p:spPr>
        </p:pic>
      </p:grpSp>
      <p:pic>
        <p:nvPicPr>
          <p:cNvPr id="43" name="Imagen 42" descr="Imagen que contiene objeto&#10;&#10;Descripción generada automáticamente">
            <a:extLst>
              <a:ext uri="{FF2B5EF4-FFF2-40B4-BE49-F238E27FC236}">
                <a16:creationId xmlns:a16="http://schemas.microsoft.com/office/drawing/2014/main" id="{C5447288-0968-F141-AEE4-B075A3070A59}"/>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9032217" y="601781"/>
            <a:ext cx="2841757" cy="4262635"/>
          </a:xfrm>
          <a:prstGeom prst="rect">
            <a:avLst/>
          </a:prstGeom>
        </p:spPr>
      </p:pic>
    </p:spTree>
    <p:extLst>
      <p:ext uri="{BB962C8B-B14F-4D97-AF65-F5344CB8AC3E}">
        <p14:creationId xmlns:p14="http://schemas.microsoft.com/office/powerpoint/2010/main" val="20574642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Content Layouts">
  <a:themeElements>
    <a:clrScheme name="Personalizado 1">
      <a:dk1>
        <a:srgbClr val="000000"/>
      </a:dk1>
      <a:lt1>
        <a:srgbClr val="FFFFFF"/>
      </a:lt1>
      <a:dk2>
        <a:srgbClr val="2B0A3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OGETI Template_2018_v3" id="{7278A2AE-4223-442C-A0C5-E45FABBA1215}" vid="{F7E055ED-6AB1-43F9-BF77-7175F72F91ED}"/>
    </a:ext>
  </a:extLst>
</a:theme>
</file>

<file path=ppt/theme/theme2.xml><?xml version="1.0" encoding="utf-8"?>
<a:theme xmlns:a="http://schemas.openxmlformats.org/drawingml/2006/main" name="1_Sogeti Master">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C9D5CD91-4970-49BC-800C-DC511DB51C17}" vid="{3C247AFE-9651-4CC2-A7F1-54AC85D8FA65}"/>
    </a:ext>
  </a:extLst>
</a:theme>
</file>

<file path=ppt/theme/theme3.xml><?xml version="1.0" encoding="utf-8"?>
<a:theme xmlns:a="http://schemas.openxmlformats.org/drawingml/2006/main" name="Sogeti 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OGETI Template_2018_v3" id="{7278A2AE-4223-442C-A0C5-E45FABBA1215}" vid="{F7E055ED-6AB1-43F9-BF77-7175F72F91ED}"/>
    </a:ext>
  </a:extLst>
</a:theme>
</file>

<file path=ppt/theme/theme4.xml><?xml version="1.0" encoding="utf-8"?>
<a:theme xmlns:a="http://schemas.openxmlformats.org/drawingml/2006/main" name="Content Layouts">
  <a:themeElements>
    <a:clrScheme name="Personalizado 3">
      <a:dk1>
        <a:srgbClr val="000000"/>
      </a:dk1>
      <a:lt1>
        <a:srgbClr val="FFFFFF"/>
      </a:lt1>
      <a:dk2>
        <a:srgbClr val="2B0A3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Personalizado 1">
      <a:majorFont>
        <a:latin typeface="Ubuntu"/>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OGETI Template_2018_v3" id="{7278A2AE-4223-442C-A0C5-E45FABBA1215}" vid="{F7E055ED-6AB1-43F9-BF77-7175F72F91ED}"/>
    </a:ext>
  </a:extLst>
</a:theme>
</file>

<file path=ppt/theme/theme5.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9</TotalTime>
  <Words>1865</Words>
  <Application>Microsoft Office PowerPoint</Application>
  <PresentationFormat>Widescreen</PresentationFormat>
  <Paragraphs>180</Paragraphs>
  <Slides>16</Slides>
  <Notes>8</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16</vt:i4>
      </vt:variant>
    </vt:vector>
  </HeadingPairs>
  <TitlesOfParts>
    <vt:vector size="29" baseType="lpstr">
      <vt:lpstr>Arial</vt:lpstr>
      <vt:lpstr>Arial Black</vt:lpstr>
      <vt:lpstr>Calibri</vt:lpstr>
      <vt:lpstr>Ubuntu</vt:lpstr>
      <vt:lpstr>Ubuntu Light</vt:lpstr>
      <vt:lpstr>Ubuntu Mono</vt:lpstr>
      <vt:lpstr>Verdana</vt:lpstr>
      <vt:lpstr>Wingdings</vt:lpstr>
      <vt:lpstr>5_Content Layouts</vt:lpstr>
      <vt:lpstr>1_Sogeti Master</vt:lpstr>
      <vt:lpstr>Sogeti Content Layouts</vt:lpstr>
      <vt:lpstr>Content Layouts</vt:lpstr>
      <vt:lpstr>think-cell Slide</vt:lpstr>
      <vt:lpstr>PowerPoint Presentation</vt:lpstr>
      <vt:lpstr>Applied innovation by SogetiLabs</vt:lpstr>
      <vt:lpstr>PowerPoint Presentation</vt:lpstr>
      <vt:lpstr>QA Dashboards</vt:lpstr>
      <vt:lpstr>QualityEye</vt:lpstr>
      <vt:lpstr>CognitiveQA for Smart testing</vt:lpstr>
      <vt:lpstr>Sogeti’s Links Checker Spider </vt:lpstr>
      <vt:lpstr>PowerPoint Presentation</vt:lpstr>
      <vt:lpstr>QualityEye – Dashboard inicial de calidad</vt:lpstr>
      <vt:lpstr>CognitiveQA – Modelo de riesgos por área funcional</vt:lpstr>
      <vt:lpstr>CognitiveQA – Modelo de priorización de pruebas</vt:lpstr>
      <vt:lpstr>CognitiveQA – Defectos y pruebas duplicados</vt:lpstr>
      <vt:lpstr>CognitiveQA – Detección de pruebas de regresión</vt:lpstr>
      <vt:lpstr>CognitiveQA – Quality Chatbot (Wisey)</vt:lpstr>
      <vt:lpstr>Links Checker Spider</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Tort Pugibet, Albert</dc:creator>
  <cp:lastModifiedBy>Martinez Rodriguez, Jordi</cp:lastModifiedBy>
  <cp:revision>16</cp:revision>
  <dcterms:created xsi:type="dcterms:W3CDTF">2022-02-10T06:26:25Z</dcterms:created>
  <dcterms:modified xsi:type="dcterms:W3CDTF">2023-05-23T12:31:26Z</dcterms:modified>
</cp:coreProperties>
</file>